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6"/>
  </p:notesMasterIdLst>
  <p:handoutMasterIdLst>
    <p:handoutMasterId r:id="rId17"/>
  </p:handoutMasterIdLst>
  <p:sldIdLst>
    <p:sldId id="387" r:id="rId2"/>
    <p:sldId id="547" r:id="rId3"/>
    <p:sldId id="567" r:id="rId4"/>
    <p:sldId id="565" r:id="rId5"/>
    <p:sldId id="568" r:id="rId6"/>
    <p:sldId id="569" r:id="rId7"/>
    <p:sldId id="570" r:id="rId8"/>
    <p:sldId id="560" r:id="rId9"/>
    <p:sldId id="566" r:id="rId10"/>
    <p:sldId id="571" r:id="rId11"/>
    <p:sldId id="552" r:id="rId12"/>
    <p:sldId id="564" r:id="rId13"/>
    <p:sldId id="558" r:id="rId14"/>
    <p:sldId id="549" r:id="rId15"/>
  </p:sldIdLst>
  <p:sldSz cx="9144000" cy="6858000" type="screen4x3"/>
  <p:notesSz cx="7023100" cy="9309100"/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Verdana" panose="020B0604030504040204" pitchFamily="34" charset="0"/>
        <a:ea typeface="+mn-ea"/>
        <a:cs typeface="Arial" panose="020B0604020202020204" pitchFamily="34" charset="0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Verdana" panose="020B0604030504040204" pitchFamily="34" charset="0"/>
        <a:ea typeface="+mn-ea"/>
        <a:cs typeface="Arial" panose="020B0604020202020204" pitchFamily="34" charset="0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Verdana" panose="020B0604030504040204" pitchFamily="34" charset="0"/>
        <a:ea typeface="+mn-ea"/>
        <a:cs typeface="Arial" panose="020B0604020202020204" pitchFamily="34" charset="0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Verdana" panose="020B0604030504040204" pitchFamily="34" charset="0"/>
        <a:ea typeface="+mn-ea"/>
        <a:cs typeface="Arial" panose="020B0604020202020204" pitchFamily="34" charset="0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Verdana" panose="020B060403050404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Verdana" panose="020B060403050404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Verdana" panose="020B060403050404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Verdana" panose="020B060403050404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Verdana" panose="020B060403050404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32">
          <p15:clr>
            <a:srgbClr val="A4A3A4"/>
          </p15:clr>
        </p15:guide>
        <p15:guide id="2" pos="2212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69E"/>
    <a:srgbClr val="FF5050"/>
    <a:srgbClr val="FF7C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7743" autoAdjust="0"/>
    <p:restoredTop sz="92776" autoAdjust="0"/>
  </p:normalViewPr>
  <p:slideViewPr>
    <p:cSldViewPr>
      <p:cViewPr varScale="1">
        <p:scale>
          <a:sx n="212" d="100"/>
          <a:sy n="212" d="100"/>
        </p:scale>
        <p:origin x="276" y="17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2813"/>
    </p:cViewPr>
  </p:sorterViewPr>
  <p:notesViewPr>
    <p:cSldViewPr>
      <p:cViewPr varScale="1">
        <p:scale>
          <a:sx n="65" d="100"/>
          <a:sy n="65" d="100"/>
        </p:scale>
        <p:origin x="-3288" y="-114"/>
      </p:cViewPr>
      <p:guideLst>
        <p:guide orient="horz" pos="2932"/>
        <p:guide pos="221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E229007B-0C97-40A3-B1FE-8FFC2C8BC528}" type="datetimeFigureOut">
              <a:rPr lang="en-US"/>
              <a:pPr>
                <a:defRPr/>
              </a:pPr>
              <a:t>9/21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42375"/>
            <a:ext cx="3043238" cy="465138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wrap="square" lIns="91431" tIns="45715" rIns="91431" bIns="45715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Calibri" panose="020F0502020204030204" pitchFamily="34" charset="0"/>
              </a:defRPr>
            </a:lvl1pPr>
          </a:lstStyle>
          <a:p>
            <a:fld id="{53F17E4D-A902-4502-A980-7B7CE48AECBB}" type="slidenum">
              <a:rPr lang="en-US" altLang="en-US"/>
              <a:pPr/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59309650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5073" tIns="47535" rIns="95073" bIns="47535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5073" tIns="47535" rIns="95073" bIns="47535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09821493-4755-406B-AC69-8566CE3F3305}" type="datetimeFigureOut">
              <a:rPr lang="en-US"/>
              <a:pPr>
                <a:defRPr/>
              </a:pPr>
              <a:t>9/21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4275" y="698500"/>
            <a:ext cx="46545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073" tIns="47535" rIns="95073" bIns="47535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21188"/>
            <a:ext cx="5619750" cy="4189412"/>
          </a:xfrm>
          <a:prstGeom prst="rect">
            <a:avLst/>
          </a:prstGeom>
        </p:spPr>
        <p:txBody>
          <a:bodyPr vert="horz" lIns="95073" tIns="47535" rIns="95073" bIns="47535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375"/>
            <a:ext cx="3043238" cy="465138"/>
          </a:xfrm>
          <a:prstGeom prst="rect">
            <a:avLst/>
          </a:prstGeom>
        </p:spPr>
        <p:txBody>
          <a:bodyPr vert="horz" lIns="95073" tIns="47535" rIns="95073" bIns="47535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wrap="square" lIns="95073" tIns="47535" rIns="95073" bIns="47535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Calibri" panose="020F0502020204030204" pitchFamily="34" charset="0"/>
              </a:defRPr>
            </a:lvl1pPr>
          </a:lstStyle>
          <a:p>
            <a:fld id="{A3248FAA-A8DB-4FC8-BD34-0126A01E484B}" type="slidenum">
              <a:rPr lang="en-US" altLang="en-US"/>
              <a:pPr/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44778192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4339" name="Notes Placeholder 2"/>
          <p:cNvSpPr>
            <a:spLocks noGrp="1"/>
          </p:cNvSpPr>
          <p:nvPr>
            <p:ph type="body" idx="1"/>
          </p:nvPr>
        </p:nvSpPr>
        <p:spPr bwMode="auto">
          <a:xfrm>
            <a:off x="703263" y="4422775"/>
            <a:ext cx="5938837" cy="41878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dirty="0"/>
          </a:p>
        </p:txBody>
      </p:sp>
      <p:sp>
        <p:nvSpPr>
          <p:cNvPr id="1434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9pPr>
          </a:lstStyle>
          <a:p>
            <a:fld id="{8C6BE9B3-4952-4F53-A69D-D4B5A3345F27}" type="slidenum">
              <a:rPr lang="en-US" altLang="en-US">
                <a:latin typeface="Calibri" panose="020F0502020204030204" pitchFamily="34" charset="0"/>
              </a:rPr>
              <a:pPr/>
              <a:t>4</a:t>
            </a:fld>
            <a:endParaRPr lang="en-US" altLang="en-US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260696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4339" name="Notes Placeholder 2"/>
          <p:cNvSpPr>
            <a:spLocks noGrp="1"/>
          </p:cNvSpPr>
          <p:nvPr>
            <p:ph type="body" idx="1"/>
          </p:nvPr>
        </p:nvSpPr>
        <p:spPr bwMode="auto">
          <a:xfrm>
            <a:off x="703263" y="4422775"/>
            <a:ext cx="5938837" cy="41878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dirty="0"/>
          </a:p>
        </p:txBody>
      </p:sp>
      <p:sp>
        <p:nvSpPr>
          <p:cNvPr id="1434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9pPr>
          </a:lstStyle>
          <a:p>
            <a:fld id="{8C6BE9B3-4952-4F53-A69D-D4B5A3345F27}" type="slidenum">
              <a:rPr lang="en-US" altLang="en-US">
                <a:latin typeface="Calibri" panose="020F0502020204030204" pitchFamily="34" charset="0"/>
              </a:rPr>
              <a:pPr/>
              <a:t>5</a:t>
            </a:fld>
            <a:endParaRPr lang="en-US" altLang="en-US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353024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4339" name="Notes Placeholder 2"/>
          <p:cNvSpPr>
            <a:spLocks noGrp="1"/>
          </p:cNvSpPr>
          <p:nvPr>
            <p:ph type="body" idx="1"/>
          </p:nvPr>
        </p:nvSpPr>
        <p:spPr bwMode="auto">
          <a:xfrm>
            <a:off x="703263" y="4422775"/>
            <a:ext cx="5938837" cy="41878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dirty="0"/>
          </a:p>
        </p:txBody>
      </p:sp>
      <p:sp>
        <p:nvSpPr>
          <p:cNvPr id="1434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9pPr>
          </a:lstStyle>
          <a:p>
            <a:fld id="{8C6BE9B3-4952-4F53-A69D-D4B5A3345F27}" type="slidenum">
              <a:rPr lang="en-US" altLang="en-US">
                <a:latin typeface="Calibri" panose="020F0502020204030204" pitchFamily="34" charset="0"/>
              </a:rPr>
              <a:pPr/>
              <a:t>7</a:t>
            </a:fld>
            <a:endParaRPr lang="en-US" altLang="en-US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3511379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4339" name="Notes Placeholder 2"/>
          <p:cNvSpPr>
            <a:spLocks noGrp="1"/>
          </p:cNvSpPr>
          <p:nvPr>
            <p:ph type="body" idx="1"/>
          </p:nvPr>
        </p:nvSpPr>
        <p:spPr bwMode="auto">
          <a:xfrm>
            <a:off x="703263" y="4422775"/>
            <a:ext cx="5938837" cy="41878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dirty="0"/>
          </a:p>
        </p:txBody>
      </p:sp>
      <p:sp>
        <p:nvSpPr>
          <p:cNvPr id="1434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9pPr>
          </a:lstStyle>
          <a:p>
            <a:fld id="{8C6BE9B3-4952-4F53-A69D-D4B5A3345F27}" type="slidenum">
              <a:rPr lang="en-US" altLang="en-US">
                <a:latin typeface="Calibri" panose="020F0502020204030204" pitchFamily="34" charset="0"/>
              </a:rPr>
              <a:pPr/>
              <a:t>8</a:t>
            </a:fld>
            <a:endParaRPr lang="en-US" altLang="en-US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899011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4339" name="Notes Placeholder 2"/>
          <p:cNvSpPr>
            <a:spLocks noGrp="1"/>
          </p:cNvSpPr>
          <p:nvPr>
            <p:ph type="body" idx="1"/>
          </p:nvPr>
        </p:nvSpPr>
        <p:spPr bwMode="auto">
          <a:xfrm>
            <a:off x="703263" y="4422775"/>
            <a:ext cx="5938837" cy="41878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dirty="0"/>
          </a:p>
        </p:txBody>
      </p:sp>
      <p:sp>
        <p:nvSpPr>
          <p:cNvPr id="1434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9pPr>
          </a:lstStyle>
          <a:p>
            <a:fld id="{8C6BE9B3-4952-4F53-A69D-D4B5A3345F27}" type="slidenum">
              <a:rPr lang="en-US" altLang="en-US">
                <a:latin typeface="Calibri" panose="020F0502020204030204" pitchFamily="34" charset="0"/>
              </a:rPr>
              <a:pPr/>
              <a:t>13</a:t>
            </a:fld>
            <a:endParaRPr lang="en-US" altLang="en-US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22133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7"/>
          <p:cNvSpPr>
            <a:spLocks noChangeShapeType="1"/>
          </p:cNvSpPr>
          <p:nvPr/>
        </p:nvSpPr>
        <p:spPr bwMode="auto">
          <a:xfrm>
            <a:off x="0" y="747713"/>
            <a:ext cx="9144000" cy="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dirty="0">
              <a:cs typeface="Arial" charset="0"/>
            </a:endParaRPr>
          </a:p>
        </p:txBody>
      </p:sp>
      <p:sp>
        <p:nvSpPr>
          <p:cNvPr id="7" name="Line 11"/>
          <p:cNvSpPr>
            <a:spLocks noChangeShapeType="1"/>
          </p:cNvSpPr>
          <p:nvPr/>
        </p:nvSpPr>
        <p:spPr bwMode="auto">
          <a:xfrm>
            <a:off x="2443163" y="3752850"/>
            <a:ext cx="57229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dirty="0">
              <a:cs typeface="Arial" charset="0"/>
            </a:endParaRPr>
          </a:p>
        </p:txBody>
      </p:sp>
      <p:pic>
        <p:nvPicPr>
          <p:cNvPr id="8" name="Picture 2" descr="C:\Users\dmlee\Downloads\preview-MABayTransAuthority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8333" b="39000"/>
          <a:stretch>
            <a:fillRect/>
          </a:stretch>
        </p:blipFill>
        <p:spPr bwMode="auto">
          <a:xfrm>
            <a:off x="1012825" y="1562100"/>
            <a:ext cx="6386513" cy="1447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Box 9"/>
          <p:cNvSpPr txBox="1">
            <a:spLocks noChangeArrowheads="1"/>
          </p:cNvSpPr>
          <p:nvPr userDrawn="1"/>
        </p:nvSpPr>
        <p:spPr bwMode="auto">
          <a:xfrm>
            <a:off x="1219200" y="4594225"/>
            <a:ext cx="5867400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342900" indent="-342900" eaLnBrk="1" hangingPunct="1">
              <a:defRPr/>
            </a:pPr>
            <a:endParaRPr lang="en-US" b="1" u="sng" dirty="0">
              <a:cs typeface="Arial" charset="0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85800" y="3962400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="1" baseline="0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219200" y="5105400"/>
            <a:ext cx="3352800" cy="762000"/>
          </a:xfrm>
          <a:prstGeom prst="rect">
            <a:avLst/>
          </a:prstGeom>
        </p:spPr>
        <p:txBody>
          <a:bodyPr/>
          <a:lstStyle>
            <a:lvl1pPr>
              <a:buNone/>
              <a:defRPr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/>
          </p:nvPr>
        </p:nvSpPr>
        <p:spPr>
          <a:xfrm>
            <a:off x="1219200" y="4528458"/>
            <a:ext cx="4572000" cy="4572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2400" b="1" baseline="0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59914740"/>
      </p:ext>
    </p:extLst>
  </p:cSld>
  <p:clrMapOvr>
    <a:masterClrMapping/>
  </p:clrMapOvr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396875" y="1463675"/>
            <a:ext cx="8434388" cy="15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5" name="Rectangle 10"/>
          <p:cNvSpPr/>
          <p:nvPr/>
        </p:nvSpPr>
        <p:spPr>
          <a:xfrm>
            <a:off x="327025" y="625475"/>
            <a:ext cx="7673975" cy="2349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 algn="r">
              <a:defRPr sz="800"/>
            </a:lvl1pPr>
          </a:lstStyle>
          <a:p>
            <a:pPr>
              <a:defRPr/>
            </a:pPr>
            <a:fld id="{DA886702-F60D-4E86-BB8D-26156F386A82}" type="datetime1">
              <a:rPr lang="en-US"/>
              <a:pPr>
                <a:defRPr/>
              </a:pPr>
              <a:t>9/21/20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851838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7DD3D87-C339-44BF-93D1-4A6A6F319843}" type="datetime1">
              <a:rPr lang="en-US"/>
              <a:pPr>
                <a:defRPr/>
              </a:pPr>
              <a:t>9/21/20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278458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01" y="169895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41" y="169514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DBB4E2F-447B-4D61-806F-33624F188C0A}" type="datetime1">
              <a:rPr lang="en-US"/>
              <a:pPr>
                <a:defRPr/>
              </a:pPr>
              <a:t>9/21/20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5320452"/>
      </p:ext>
    </p:extLst>
  </p:cSld>
  <p:clrMapOvr>
    <a:masterClrMapping/>
  </p:clrMapOvr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" descr="newMekkoChart.emf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3875" y="1243013"/>
            <a:ext cx="4284663" cy="5489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9" descr="newMekkoChart.emf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60950" y="1243013"/>
            <a:ext cx="4284663" cy="5489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Date Placeholder 2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AFB940-0B1C-4290-B0C1-A268B1FED725}" type="datetime1">
              <a:rPr lang="en-US"/>
              <a:pPr>
                <a:defRPr/>
              </a:pPr>
              <a:t>9/21/20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159780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C3E803-C6DC-40D0-A79E-932CEC87E6AF}" type="datetimeFigureOut">
              <a:rPr lang="en-US" smtClean="0"/>
              <a:t>9/21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6724F6-C18B-46B4-9CC0-7010B285328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488201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AAD91E0-A340-4306-AE7C-2641141E9864}" type="datetime1">
              <a:rPr lang="en-US"/>
              <a:pPr>
                <a:defRPr/>
              </a:pPr>
              <a:t>9/21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 dirty="0"/>
              <a:t>Draft for Discussion &amp; Policy Purposes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fld id="{834D07F1-B352-4C49-AF6A-931F252245A9}" type="slidenum">
              <a:rPr lang="en-US" altLang="en-US"/>
              <a:pPr/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29743207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447675" y="1325563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>
            <a:off x="447675" y="6280150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Slide Number Placeholder 6"/>
          <p:cNvSpPr txBox="1">
            <a:spLocks/>
          </p:cNvSpPr>
          <p:nvPr/>
        </p:nvSpPr>
        <p:spPr>
          <a:xfrm>
            <a:off x="8148638" y="6543675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/>
            <a:fld id="{02C4E5F0-906C-4A5D-9DE5-9D82D003C395}" type="slidenum">
              <a:rPr lang="en-US" altLang="en-US" sz="1000">
                <a:latin typeface="Arial" panose="020B0604020202020204" pitchFamily="34" charset="0"/>
              </a:rPr>
              <a:pPr algn="r" eaLnBrk="1" hangingPunct="1"/>
              <a:t>‹#›</a:t>
            </a:fld>
            <a:endParaRPr lang="en-US" altLang="en-US" sz="1000" dirty="0">
              <a:latin typeface="Arial" panose="020B0604020202020204" pitchFamily="34" charset="0"/>
            </a:endParaRPr>
          </a:p>
        </p:txBody>
      </p:sp>
      <p:sp>
        <p:nvSpPr>
          <p:cNvPr id="41" name="Content Placeholder 8"/>
          <p:cNvSpPr txBox="1">
            <a:spLocks/>
          </p:cNvSpPr>
          <p:nvPr/>
        </p:nvSpPr>
        <p:spPr>
          <a:xfrm>
            <a:off x="469900" y="1698625"/>
            <a:ext cx="8348663" cy="4438650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defRPr/>
            </a:pPr>
            <a:endParaRPr lang="en-US" dirty="0"/>
          </a:p>
        </p:txBody>
      </p:sp>
      <p:sp>
        <p:nvSpPr>
          <p:cNvPr id="18" name="Date Placeholder 1"/>
          <p:cNvSpPr>
            <a:spLocks noGrp="1"/>
          </p:cNvSpPr>
          <p:nvPr>
            <p:ph type="dt" sz="half" idx="2"/>
          </p:nvPr>
        </p:nvSpPr>
        <p:spPr>
          <a:xfrm>
            <a:off x="7200900" y="6269038"/>
            <a:ext cx="1673225" cy="155575"/>
          </a:xfrm>
          <a:prstGeom prst="rect">
            <a:avLst/>
          </a:prstGeom>
        </p:spPr>
        <p:txBody>
          <a:bodyPr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80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03CB88B1-008B-473A-A869-664A7AE1A3F5}" type="datetime1">
              <a:rPr lang="en-US"/>
              <a:pPr>
                <a:defRPr/>
              </a:pPr>
              <a:t>9/21/2018</a:t>
            </a:fld>
            <a:endParaRPr lang="en-US" dirty="0"/>
          </a:p>
        </p:txBody>
      </p:sp>
      <p:pic>
        <p:nvPicPr>
          <p:cNvPr id="1032" name="Picture 2" descr="File:MBTA.sv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39113" y="222250"/>
            <a:ext cx="711200" cy="711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0" r:id="rId3"/>
    <p:sldLayoutId id="2147483701" r:id="rId4"/>
    <p:sldLayoutId id="2147483704" r:id="rId5"/>
    <p:sldLayoutId id="2147483706" r:id="rId6"/>
    <p:sldLayoutId id="2147483707" r:id="rId7"/>
  </p:sldLayoutIdLst>
  <p:hf hd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228600" indent="-228600" algn="l" rtl="0" eaLnBrk="0" fontAlgn="base" hangingPunct="0">
        <a:spcBef>
          <a:spcPct val="100000"/>
        </a:spcBef>
        <a:spcAft>
          <a:spcPct val="0"/>
        </a:spcAft>
        <a:buClr>
          <a:srgbClr val="0033CC"/>
        </a:buClr>
        <a:buChar char="•"/>
        <a:defRPr sz="24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76263" indent="-233363" algn="l" rtl="0" eaLnBrk="0" fontAlgn="base" hangingPunct="0">
        <a:spcBef>
          <a:spcPct val="20000"/>
        </a:spcBef>
        <a:spcAft>
          <a:spcPct val="0"/>
        </a:spcAft>
        <a:buClr>
          <a:srgbClr val="0033CC"/>
        </a:buClr>
        <a:buFont typeface="Arial" panose="020B0604020202020204" pitchFamily="34" charset="0"/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914400" indent="-223838" algn="l" rtl="0" eaLnBrk="0" fontAlgn="base" hangingPunct="0">
        <a:spcBef>
          <a:spcPct val="20000"/>
        </a:spcBef>
        <a:spcAft>
          <a:spcPct val="0"/>
        </a:spcAft>
        <a:buClr>
          <a:srgbClr val="0033CC"/>
        </a:buClr>
        <a:buChar char="•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262063" indent="-233363" algn="l" rtl="0" eaLnBrk="0" fontAlgn="base" hangingPunct="0">
        <a:spcBef>
          <a:spcPct val="20000"/>
        </a:spcBef>
        <a:spcAft>
          <a:spcPct val="0"/>
        </a:spcAft>
        <a:buClr>
          <a:srgbClr val="0033CC"/>
        </a:buClr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600200" indent="-223838" algn="l" rtl="0" eaLnBrk="0" fontAlgn="base" hangingPunct="0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2057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5146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29718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4290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2.jpg"/><Relationship Id="rId5" Type="http://schemas.openxmlformats.org/officeDocument/2006/relationships/image" Target="../media/image11.jpeg"/><Relationship Id="rId4" Type="http://schemas.openxmlformats.org/officeDocument/2006/relationships/image" Target="../media/image10.jpe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itle 1"/>
          <p:cNvSpPr>
            <a:spLocks noGrp="1"/>
          </p:cNvSpPr>
          <p:nvPr>
            <p:ph type="title"/>
          </p:nvPr>
        </p:nvSpPr>
        <p:spPr bwMode="auto">
          <a:xfrm>
            <a:off x="685800" y="3886200"/>
            <a:ext cx="7751763" cy="1208087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compatLnSpc="1">
            <a:prstTxWarp prst="textNoShape">
              <a:avLst/>
            </a:prstTxWarp>
          </a:bodyPr>
          <a:lstStyle/>
          <a:p>
            <a:pPr eaLnBrk="1" hangingPunct="1"/>
            <a:r>
              <a:rPr lang="en-US" altLang="en-US" sz="2400" dirty="0" smtClean="0"/>
              <a:t>Bus Fleet and Facility Program </a:t>
            </a:r>
            <a:endParaRPr lang="en-US" altLang="en-US" sz="2400" i="1" dirty="0"/>
          </a:p>
        </p:txBody>
      </p:sp>
      <p:sp>
        <p:nvSpPr>
          <p:cNvPr id="6147" name="Text Placeholder 2"/>
          <p:cNvSpPr>
            <a:spLocks noGrp="1"/>
          </p:cNvSpPr>
          <p:nvPr>
            <p:ph type="body" sz="quarter" idx="10"/>
          </p:nvPr>
        </p:nvSpPr>
        <p:spPr bwMode="auto">
          <a:xfrm>
            <a:off x="1066800" y="5562600"/>
            <a:ext cx="7010400" cy="7620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en-US" altLang="en-US" sz="1800" dirty="0"/>
              <a:t>September </a:t>
            </a:r>
            <a:r>
              <a:rPr lang="en-US" altLang="en-US" sz="1800" dirty="0" smtClean="0"/>
              <a:t>24, </a:t>
            </a:r>
            <a:r>
              <a:rPr lang="en-US" altLang="en-US" sz="1800" dirty="0"/>
              <a:t>2018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Next Steps</a:t>
            </a:r>
            <a:endParaRPr lang="en-US" sz="2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" name="Content Placeholder 2"/>
          <p:cNvSpPr txBox="1">
            <a:spLocks/>
          </p:cNvSpPr>
          <p:nvPr/>
        </p:nvSpPr>
        <p:spPr>
          <a:xfrm>
            <a:off x="457200" y="1447800"/>
            <a:ext cx="7620000" cy="4800600"/>
          </a:xfrm>
          <a:prstGeom prst="rect">
            <a:avLst/>
          </a:prstGeom>
        </p:spPr>
        <p:txBody>
          <a:bodyPr/>
          <a:lstStyle>
            <a:lvl1pPr marL="228600" indent="-228600" algn="l" rtl="0" eaLnBrk="1" fontAlgn="base" hangingPunct="1">
              <a:spcBef>
                <a:spcPct val="100000"/>
              </a:spcBef>
              <a:spcAft>
                <a:spcPct val="0"/>
              </a:spcAft>
              <a:buClr>
                <a:srgbClr val="0033CC"/>
              </a:buClr>
              <a:buChar char="•"/>
              <a:defRPr sz="2400" b="1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576263" indent="-233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2pPr>
            <a:lvl3pPr marL="914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3pPr>
            <a:lvl4pPr marL="1262063" indent="-233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4pPr>
            <a:lvl5pPr marL="16002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spcBef>
                <a:spcPts val="1200"/>
              </a:spcBef>
            </a:pPr>
            <a:r>
              <a:rPr lang="en-US" sz="1600" kern="0" dirty="0" smtClean="0"/>
              <a:t>October 2018: </a:t>
            </a:r>
          </a:p>
          <a:p>
            <a:pPr lvl="1">
              <a:spcBef>
                <a:spcPts val="1200"/>
              </a:spcBef>
            </a:pPr>
            <a:r>
              <a:rPr lang="en-US" sz="1600" kern="0" dirty="0" smtClean="0"/>
              <a:t>194 Advanced Hybrid Bus Contract</a:t>
            </a:r>
          </a:p>
          <a:p>
            <a:pPr>
              <a:spcBef>
                <a:spcPts val="1200"/>
              </a:spcBef>
            </a:pPr>
            <a:r>
              <a:rPr lang="en-US" sz="1600" kern="0" dirty="0" smtClean="0"/>
              <a:t>November 2018: </a:t>
            </a:r>
          </a:p>
          <a:p>
            <a:pPr lvl="1">
              <a:spcBef>
                <a:spcPts val="1200"/>
              </a:spcBef>
            </a:pPr>
            <a:r>
              <a:rPr lang="en-US" sz="1600" kern="0" dirty="0" smtClean="0"/>
              <a:t>New Bus Fleet Consultant Contract</a:t>
            </a:r>
          </a:p>
          <a:p>
            <a:pPr>
              <a:spcBef>
                <a:spcPts val="1200"/>
              </a:spcBef>
            </a:pPr>
            <a:r>
              <a:rPr lang="en-US" sz="1600" kern="0" dirty="0" smtClean="0"/>
              <a:t>Summer 2019: </a:t>
            </a:r>
          </a:p>
          <a:p>
            <a:pPr lvl="1">
              <a:spcBef>
                <a:spcPts val="1200"/>
              </a:spcBef>
            </a:pPr>
            <a:r>
              <a:rPr lang="en-US" sz="1600" kern="0" dirty="0" smtClean="0"/>
              <a:t>Model Facility Conceptual Design</a:t>
            </a:r>
            <a:endParaRPr lang="en-US" sz="1600" kern="0" dirty="0"/>
          </a:p>
          <a:p>
            <a:r>
              <a:rPr lang="en-US" sz="1600" kern="0" dirty="0" smtClean="0"/>
              <a:t>Fall 2019:</a:t>
            </a:r>
          </a:p>
          <a:p>
            <a:pPr lvl="1"/>
            <a:r>
              <a:rPr lang="en-US" sz="1600" kern="0" dirty="0" smtClean="0"/>
              <a:t>Facility Investment Program Plan</a:t>
            </a:r>
            <a:endParaRPr lang="en-US" sz="1600" kern="0" dirty="0" smtClean="0"/>
          </a:p>
          <a:p>
            <a:endParaRPr lang="en-US" sz="1600" kern="0" dirty="0" smtClean="0"/>
          </a:p>
          <a:p>
            <a:endParaRPr lang="en-US" sz="1600" kern="0" dirty="0" smtClean="0"/>
          </a:p>
          <a:p>
            <a:pPr marL="0" indent="0">
              <a:buFontTx/>
              <a:buNone/>
            </a:pPr>
            <a:endParaRPr lang="en-US" sz="1600" kern="0" dirty="0"/>
          </a:p>
        </p:txBody>
      </p:sp>
      <p:sp>
        <p:nvSpPr>
          <p:cNvPr id="4" name="Rectangle 9">
            <a:extLst>
              <a:ext uri="{FF2B5EF4-FFF2-40B4-BE49-F238E27FC236}">
                <a16:creationId xmlns:a16="http://schemas.microsoft.com/office/drawing/2014/main" id="{D8AB8BEA-972D-4860-9566-F377526301B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7200" y="381000"/>
            <a:ext cx="7162800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100" b="1" dirty="0" smtClean="0">
                <a:solidFill>
                  <a:srgbClr val="00269E"/>
                </a:solidFill>
                <a:latin typeface="Arial" panose="020B0604020202020204" pitchFamily="34" charset="0"/>
              </a:rPr>
              <a:t>Near-Term Bus Fleet and Facility Program</a:t>
            </a:r>
            <a:endParaRPr lang="en-US" altLang="en-US" sz="1100" b="1" dirty="0">
              <a:solidFill>
                <a:srgbClr val="00269E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70625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ack up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Rectangle 9">
            <a:extLst>
              <a:ext uri="{FF2B5EF4-FFF2-40B4-BE49-F238E27FC236}">
                <a16:creationId xmlns:a16="http://schemas.microsoft.com/office/drawing/2014/main" id="{D8AB8BEA-972D-4860-9566-F377526301B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7200" y="381000"/>
            <a:ext cx="7162800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100" b="1" dirty="0" smtClean="0">
                <a:solidFill>
                  <a:srgbClr val="00269E"/>
                </a:solidFill>
                <a:latin typeface="Arial" panose="020B0604020202020204" pitchFamily="34" charset="0"/>
              </a:rPr>
              <a:t>Near-Term Bus Fleet and Facility Program</a:t>
            </a:r>
            <a:endParaRPr lang="en-US" altLang="en-US" sz="1100" b="1" dirty="0">
              <a:solidFill>
                <a:srgbClr val="00269E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433477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Path Forward</a:t>
            </a:r>
            <a:endParaRPr lang="en-US" sz="2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" name="Content Placeholder 2"/>
          <p:cNvSpPr txBox="1">
            <a:spLocks/>
          </p:cNvSpPr>
          <p:nvPr/>
        </p:nvSpPr>
        <p:spPr>
          <a:xfrm>
            <a:off x="304800" y="1363662"/>
            <a:ext cx="4343400" cy="4351338"/>
          </a:xfrm>
          <a:prstGeom prst="rect">
            <a:avLst/>
          </a:prstGeom>
        </p:spPr>
        <p:txBody>
          <a:bodyPr/>
          <a:lstStyle>
            <a:lvl1pPr marL="228600" indent="-228600" algn="l" rtl="0" eaLnBrk="1" fontAlgn="base" hangingPunct="1">
              <a:spcBef>
                <a:spcPct val="100000"/>
              </a:spcBef>
              <a:spcAft>
                <a:spcPct val="0"/>
              </a:spcAft>
              <a:buClr>
                <a:srgbClr val="0033CC"/>
              </a:buClr>
              <a:buChar char="•"/>
              <a:defRPr sz="2400" b="1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576263" indent="-233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2pPr>
            <a:lvl3pPr marL="914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3pPr>
            <a:lvl4pPr marL="1262063" indent="-233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4pPr>
            <a:lvl5pPr marL="16002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r>
              <a:rPr lang="en-US" sz="1600" kern="0" dirty="0" smtClean="0"/>
              <a:t>Execution Plan Development Process:</a:t>
            </a:r>
          </a:p>
          <a:p>
            <a:pPr lvl="1"/>
            <a:r>
              <a:rPr lang="en-US" sz="1600" kern="0" dirty="0" smtClean="0"/>
              <a:t>Identify vital and deficient facilities</a:t>
            </a:r>
          </a:p>
          <a:p>
            <a:pPr lvl="1"/>
            <a:r>
              <a:rPr lang="en-US" sz="1600" kern="0" dirty="0" smtClean="0"/>
              <a:t>Initial requirements for facility real estate search</a:t>
            </a:r>
          </a:p>
          <a:p>
            <a:pPr lvl="1"/>
            <a:r>
              <a:rPr lang="en-US" sz="1600" kern="0" dirty="0" smtClean="0"/>
              <a:t>Procure Facility Design Consultant</a:t>
            </a:r>
          </a:p>
          <a:p>
            <a:pPr lvl="1"/>
            <a:r>
              <a:rPr lang="en-US" sz="1600" kern="0" dirty="0" smtClean="0"/>
              <a:t>Future facility capacity and vehicle delivery schedule</a:t>
            </a:r>
          </a:p>
          <a:p>
            <a:pPr lvl="2"/>
            <a:r>
              <a:rPr lang="en-US" sz="1600" kern="0" dirty="0" smtClean="0"/>
              <a:t>Fleet makeup – quantity needed to provide service</a:t>
            </a:r>
          </a:p>
          <a:p>
            <a:pPr lvl="3"/>
            <a:r>
              <a:rPr lang="en-US" altLang="en-US" sz="1600" dirty="0" smtClean="0"/>
              <a:t>Evaluate </a:t>
            </a:r>
            <a:r>
              <a:rPr lang="en-US" altLang="en-US" sz="1600" dirty="0"/>
              <a:t>60-foot battery and extended range hybrid buses</a:t>
            </a:r>
          </a:p>
          <a:p>
            <a:pPr lvl="3">
              <a:buFont typeface="Arial" panose="020B0604020202020204" pitchFamily="34" charset="0"/>
              <a:buChar char="–"/>
              <a:tabLst>
                <a:tab pos="4117975" algn="l"/>
              </a:tabLst>
            </a:pPr>
            <a:r>
              <a:rPr lang="en-US" altLang="en-US" sz="1600" dirty="0"/>
              <a:t>Execute battery bus program to replace North Cambridge ETB </a:t>
            </a:r>
            <a:r>
              <a:rPr lang="en-US" altLang="en-US" sz="1600" dirty="0" smtClean="0"/>
              <a:t>Fleet</a:t>
            </a:r>
            <a:endParaRPr lang="en-US" sz="1600" kern="0" dirty="0" smtClean="0"/>
          </a:p>
          <a:p>
            <a:pPr lvl="1"/>
            <a:r>
              <a:rPr lang="en-US" sz="1600" kern="0" dirty="0" smtClean="0"/>
              <a:t>Requirements and best practices for new, modern facilities</a:t>
            </a:r>
          </a:p>
          <a:p>
            <a:pPr lvl="2"/>
            <a:r>
              <a:rPr lang="en-US" sz="1600" kern="0" dirty="0" smtClean="0"/>
              <a:t>Conceptual </a:t>
            </a:r>
            <a:r>
              <a:rPr lang="en-US" sz="1600" b="1" i="1" kern="0" dirty="0" smtClean="0"/>
              <a:t>Model</a:t>
            </a:r>
            <a:r>
              <a:rPr lang="en-US" sz="1600" kern="0" dirty="0" smtClean="0"/>
              <a:t> Garage development</a:t>
            </a:r>
          </a:p>
        </p:txBody>
      </p:sp>
      <p:pic>
        <p:nvPicPr>
          <p:cNvPr id="3" name="Picture 2" descr="Description Yes &lt;strong&gt;Check&lt;/strong&gt; Circle.sv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" y="1676400"/>
            <a:ext cx="266700" cy="266700"/>
          </a:xfrm>
          <a:prstGeom prst="rect">
            <a:avLst/>
          </a:prstGeom>
        </p:spPr>
      </p:pic>
      <p:pic>
        <p:nvPicPr>
          <p:cNvPr id="5" name="Picture 4" descr="Description Yes &lt;strong&gt;Check&lt;/strong&gt; Circle.sv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" y="1981200"/>
            <a:ext cx="266700" cy="266700"/>
          </a:xfrm>
          <a:prstGeom prst="rect">
            <a:avLst/>
          </a:prstGeom>
        </p:spPr>
      </p:pic>
      <p:sp>
        <p:nvSpPr>
          <p:cNvPr id="6" name="Rectangle 9">
            <a:extLst>
              <a:ext uri="{FF2B5EF4-FFF2-40B4-BE49-F238E27FC236}">
                <a16:creationId xmlns:a16="http://schemas.microsoft.com/office/drawing/2014/main" id="{D8AB8BEA-972D-4860-9566-F377526301B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7200" y="381000"/>
            <a:ext cx="7162800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100" b="1" dirty="0" smtClean="0">
                <a:solidFill>
                  <a:srgbClr val="00269E"/>
                </a:solidFill>
                <a:latin typeface="Arial" panose="020B0604020202020204" pitchFamily="34" charset="0"/>
              </a:rPr>
              <a:t>Near-Term Bus Fleet and Facility Program</a:t>
            </a:r>
            <a:endParaRPr lang="en-US" altLang="en-US" sz="1100" b="1" dirty="0">
              <a:solidFill>
                <a:srgbClr val="00269E"/>
              </a:solidFill>
              <a:latin typeface="Arial" panose="020B0604020202020204" pitchFamily="34" charset="0"/>
            </a:endParaRPr>
          </a:p>
        </p:txBody>
      </p:sp>
      <p:sp>
        <p:nvSpPr>
          <p:cNvPr id="7" name="Content Placeholder 2"/>
          <p:cNvSpPr txBox="1">
            <a:spLocks/>
          </p:cNvSpPr>
          <p:nvPr/>
        </p:nvSpPr>
        <p:spPr>
          <a:xfrm>
            <a:off x="4572000" y="1363662"/>
            <a:ext cx="4419600" cy="4351338"/>
          </a:xfrm>
          <a:prstGeom prst="rect">
            <a:avLst/>
          </a:prstGeom>
        </p:spPr>
        <p:txBody>
          <a:bodyPr/>
          <a:lstStyle>
            <a:lvl1pPr marL="228600" indent="-228600" algn="l" rtl="0" eaLnBrk="1" fontAlgn="base" hangingPunct="1">
              <a:spcBef>
                <a:spcPct val="100000"/>
              </a:spcBef>
              <a:spcAft>
                <a:spcPct val="0"/>
              </a:spcAft>
              <a:buClr>
                <a:srgbClr val="0033CC"/>
              </a:buClr>
              <a:buChar char="•"/>
              <a:defRPr sz="2400" b="1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576263" indent="-233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2pPr>
            <a:lvl3pPr marL="914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3pPr>
            <a:lvl4pPr marL="1262063" indent="-233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4pPr>
            <a:lvl5pPr marL="16002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r>
              <a:rPr lang="en-US" sz="1600" kern="0" dirty="0" smtClean="0"/>
              <a:t>Execution strategy:</a:t>
            </a:r>
          </a:p>
          <a:p>
            <a:pPr lvl="1"/>
            <a:r>
              <a:rPr lang="en-US" sz="1600" kern="0" dirty="0" smtClean="0"/>
              <a:t>Determine appropriate staging and sequencing – which facilities to maintain, close, open</a:t>
            </a:r>
          </a:p>
          <a:p>
            <a:pPr lvl="2"/>
            <a:r>
              <a:rPr lang="en-US" sz="1600" kern="0" dirty="0" smtClean="0"/>
              <a:t>Considering potential impacts to operational costs and service</a:t>
            </a:r>
          </a:p>
          <a:p>
            <a:pPr lvl="1"/>
            <a:r>
              <a:rPr lang="en-US" sz="1600" kern="0" dirty="0" smtClean="0"/>
              <a:t>Filter, prioritize, and acquire available real estate</a:t>
            </a:r>
          </a:p>
          <a:p>
            <a:pPr lvl="2"/>
            <a:r>
              <a:rPr lang="en-US" sz="1600" kern="0" dirty="0" smtClean="0"/>
              <a:t>Optimize for most efficient bus network</a:t>
            </a:r>
          </a:p>
          <a:p>
            <a:pPr lvl="1"/>
            <a:r>
              <a:rPr lang="en-US" altLang="en-US" sz="1600" dirty="0"/>
              <a:t>Determine propulsion technology approach for procuring new bus fleets</a:t>
            </a:r>
          </a:p>
          <a:p>
            <a:pPr lvl="1"/>
            <a:r>
              <a:rPr lang="en-US" sz="1600" kern="0" dirty="0" smtClean="0"/>
              <a:t>Solicit design and construction services for new and/or expansion of facilities</a:t>
            </a:r>
          </a:p>
          <a:p>
            <a:pPr lvl="1"/>
            <a:r>
              <a:rPr lang="en-US" altLang="en-US" sz="1600" dirty="0" smtClean="0"/>
              <a:t>Explore </a:t>
            </a:r>
            <a:r>
              <a:rPr lang="en-US" altLang="en-US" sz="1600" dirty="0"/>
              <a:t>alternative </a:t>
            </a:r>
            <a:r>
              <a:rPr lang="en-US" altLang="en-US" sz="1600" dirty="0" smtClean="0"/>
              <a:t>procurement methods (Fleet and Facilities)</a:t>
            </a:r>
          </a:p>
        </p:txBody>
      </p:sp>
    </p:spTree>
    <p:extLst>
      <p:ext uri="{BB962C8B-B14F-4D97-AF65-F5344CB8AC3E}">
        <p14:creationId xmlns:p14="http://schemas.microsoft.com/office/powerpoint/2010/main" val="4959549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7"/>
          <p:cNvSpPr txBox="1">
            <a:spLocks/>
          </p:cNvSpPr>
          <p:nvPr/>
        </p:nvSpPr>
        <p:spPr>
          <a:xfrm>
            <a:off x="457200" y="1020762"/>
            <a:ext cx="7315200" cy="350838"/>
          </a:xfrm>
          <a:prstGeom prst="rect">
            <a:avLst/>
          </a:prstGeom>
        </p:spPr>
        <p:txBody>
          <a:bodyPr>
            <a:normAutofit lnSpcReduction="10000"/>
          </a:bodyPr>
          <a:lstStyle/>
          <a:p>
            <a:pPr marL="342900" indent="-342900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lang="en-US" b="1" dirty="0">
                <a:solidFill>
                  <a:srgbClr val="00269E"/>
                </a:solidFill>
                <a:latin typeface="Arial" panose="020B0604020202020204" pitchFamily="34" charset="0"/>
              </a:rPr>
              <a:t>MBTA Bus Fleet Overview</a:t>
            </a:r>
          </a:p>
          <a:p>
            <a:pPr marL="342900" indent="-342900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endParaRPr lang="en-US" sz="3200" b="1" dirty="0">
              <a:latin typeface="Calibri" pitchFamily="34" charset="0"/>
              <a:cs typeface="+mn-cs"/>
            </a:endParaRPr>
          </a:p>
          <a:p>
            <a:pPr marL="342900" indent="-342900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endParaRPr lang="en-US" sz="3200" b="1" dirty="0">
              <a:latin typeface="+mn-lt"/>
              <a:cs typeface="+mn-cs"/>
            </a:endParaRP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/>
          </p:nvPr>
        </p:nvGraphicFramePr>
        <p:xfrm>
          <a:off x="457200" y="1524000"/>
          <a:ext cx="8229600" cy="43363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24200">
                  <a:extLst>
                    <a:ext uri="{9D8B030D-6E8A-4147-A177-3AD203B41FA5}">
                      <a16:colId xmlns:a16="http://schemas.microsoft.com/office/drawing/2014/main" val="924033947"/>
                    </a:ext>
                  </a:extLst>
                </a:gridCol>
                <a:gridCol w="1578429">
                  <a:extLst>
                    <a:ext uri="{9D8B030D-6E8A-4147-A177-3AD203B41FA5}">
                      <a16:colId xmlns:a16="http://schemas.microsoft.com/office/drawing/2014/main" val="4292637521"/>
                    </a:ext>
                  </a:extLst>
                </a:gridCol>
                <a:gridCol w="1373650">
                  <a:extLst>
                    <a:ext uri="{9D8B030D-6E8A-4147-A177-3AD203B41FA5}">
                      <a16:colId xmlns:a16="http://schemas.microsoft.com/office/drawing/2014/main" val="3216141831"/>
                    </a:ext>
                  </a:extLst>
                </a:gridCol>
                <a:gridCol w="2153321">
                  <a:extLst>
                    <a:ext uri="{9D8B030D-6E8A-4147-A177-3AD203B41FA5}">
                      <a16:colId xmlns:a16="http://schemas.microsoft.com/office/drawing/2014/main" val="947378274"/>
                    </a:ext>
                  </a:extLst>
                </a:gridCol>
              </a:tblGrid>
              <a:tr h="346381">
                <a:tc>
                  <a:txBody>
                    <a:bodyPr/>
                    <a:lstStyle/>
                    <a:p>
                      <a:pPr marL="0" marR="0" algn="ctr" defTabSz="457200" rtl="0" eaLnBrk="1" fontAlgn="b" latinLnBrk="0" hangingPunct="1"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800" b="1" kern="1200" dirty="0">
                          <a:solidFill>
                            <a:schemeClr val="lt1"/>
                          </a:solidFill>
                          <a:latin typeface="Arial Narrow"/>
                          <a:ea typeface="Calibri"/>
                          <a:cs typeface="Times New Roman"/>
                        </a:rPr>
                        <a:t>Nam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algn="ctr" defTabSz="457200" rtl="0" eaLnBrk="1" fontAlgn="b" latinLnBrk="0" hangingPunct="1"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800" b="1" kern="1200" dirty="0">
                          <a:solidFill>
                            <a:schemeClr val="lt1"/>
                          </a:solidFill>
                          <a:latin typeface="Arial Narrow"/>
                          <a:ea typeface="Calibri"/>
                          <a:cs typeface="Times New Roman"/>
                        </a:rPr>
                        <a:t>Year Purcha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algn="ctr" defTabSz="457200" rtl="0" eaLnBrk="1" fontAlgn="b" latinLnBrk="0" hangingPunct="1"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800" b="1" kern="1200" dirty="0">
                          <a:solidFill>
                            <a:schemeClr val="lt1"/>
                          </a:solidFill>
                          <a:latin typeface="Arial Narrow"/>
                          <a:ea typeface="Calibri"/>
                          <a:cs typeface="Times New Roman"/>
                        </a:rPr>
                        <a:t>Quantity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algn="ctr" defTabSz="457200" rtl="0" eaLnBrk="1" fontAlgn="b" latinLnBrk="0" hangingPunct="1"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800" b="1" kern="1200" dirty="0">
                          <a:solidFill>
                            <a:schemeClr val="lt1"/>
                          </a:solidFill>
                          <a:latin typeface="Arial Narrow"/>
                          <a:ea typeface="Calibri"/>
                          <a:cs typeface="Times New Roman"/>
                        </a:rPr>
                        <a:t>Status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67737583"/>
                  </a:ext>
                </a:extLst>
              </a:tr>
              <a:tr h="346381">
                <a:tc>
                  <a:txBody>
                    <a:bodyPr/>
                    <a:lstStyle/>
                    <a:p>
                      <a:pPr marL="0" marR="0" algn="l" defTabSz="457200" rtl="0" eaLnBrk="1" fontAlgn="b" latinLnBrk="0" hangingPunct="1"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400" b="1" kern="1200" dirty="0">
                          <a:solidFill>
                            <a:schemeClr val="dk1"/>
                          </a:solidFill>
                          <a:latin typeface="Arial Narrow"/>
                          <a:ea typeface="Calibri"/>
                          <a:cs typeface="Times New Roman"/>
                        </a:rPr>
                        <a:t>Neoplan 40-foot EC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algn="ctr" defTabSz="457200" rtl="0" eaLnBrk="1" fontAlgn="b" latinLnBrk="0" hangingPunct="1"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400" b="1" kern="1200" dirty="0">
                          <a:solidFill>
                            <a:schemeClr val="dk1"/>
                          </a:solidFill>
                          <a:latin typeface="Arial Narrow"/>
                          <a:ea typeface="Calibri"/>
                          <a:cs typeface="Times New Roman"/>
                        </a:rPr>
                        <a:t>2003-0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algn="ctr" defTabSz="457200" rtl="0" eaLnBrk="1" fontAlgn="b" latinLnBrk="0" hangingPunct="1"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400" b="1" kern="1200" dirty="0">
                          <a:solidFill>
                            <a:schemeClr val="dk1"/>
                          </a:solidFill>
                          <a:latin typeface="Arial Narrow"/>
                          <a:ea typeface="Calibri"/>
                          <a:cs typeface="Times New Roman"/>
                        </a:rPr>
                        <a:t>19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algn="l" defTabSz="457200" rtl="0" eaLnBrk="1" fontAlgn="b" latinLnBrk="0" hangingPunct="1"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400" b="1" kern="1200" dirty="0">
                          <a:solidFill>
                            <a:schemeClr val="dk1"/>
                          </a:solidFill>
                          <a:latin typeface="Arial Narrow"/>
                          <a:ea typeface="Calibri"/>
                          <a:cs typeface="Times New Roman"/>
                        </a:rPr>
                        <a:t>Completed Overhaul 2015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187207416"/>
                  </a:ext>
                </a:extLst>
              </a:tr>
              <a:tr h="346381">
                <a:tc>
                  <a:txBody>
                    <a:bodyPr/>
                    <a:lstStyle/>
                    <a:p>
                      <a:pPr marL="0" marR="0" algn="l" defTabSz="457200" rtl="0" eaLnBrk="1" fontAlgn="b" latinLnBrk="0" hangingPunct="1"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400" b="1" kern="1200" dirty="0">
                          <a:solidFill>
                            <a:schemeClr val="dk1"/>
                          </a:solidFill>
                          <a:latin typeface="Arial Narrow"/>
                          <a:ea typeface="Calibri"/>
                          <a:cs typeface="Times New Roman"/>
                        </a:rPr>
                        <a:t>Neoplan</a:t>
                      </a:r>
                      <a:r>
                        <a:rPr lang="en-US" sz="1400" b="1" kern="1200" baseline="0" dirty="0">
                          <a:solidFill>
                            <a:schemeClr val="dk1"/>
                          </a:solidFill>
                          <a:latin typeface="Arial Narrow"/>
                          <a:ea typeface="Calibri"/>
                          <a:cs typeface="Times New Roman"/>
                        </a:rPr>
                        <a:t> 6</a:t>
                      </a:r>
                      <a:r>
                        <a:rPr lang="en-US" sz="1400" b="1" kern="1200" dirty="0">
                          <a:solidFill>
                            <a:schemeClr val="dk1"/>
                          </a:solidFill>
                          <a:latin typeface="Arial Narrow"/>
                          <a:ea typeface="Calibri"/>
                          <a:cs typeface="Times New Roman"/>
                        </a:rPr>
                        <a:t>0-foot DMA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algn="ctr" defTabSz="457200" rtl="0" eaLnBrk="1" fontAlgn="b" latinLnBrk="0" hangingPunct="1"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400" b="1" kern="1200" dirty="0">
                          <a:solidFill>
                            <a:schemeClr val="dk1"/>
                          </a:solidFill>
                          <a:latin typeface="Arial Narrow"/>
                          <a:ea typeface="Calibri"/>
                          <a:cs typeface="Times New Roman"/>
                        </a:rPr>
                        <a:t>2004-0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algn="ctr" defTabSz="457200" rtl="0" eaLnBrk="1" fontAlgn="b" latinLnBrk="0" hangingPunct="1"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400" b="1" kern="1200" dirty="0">
                          <a:solidFill>
                            <a:schemeClr val="dk1"/>
                          </a:solidFill>
                          <a:latin typeface="Arial Narrow"/>
                          <a:ea typeface="Calibri"/>
                          <a:cs typeface="Times New Roman"/>
                        </a:rPr>
                        <a:t>3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algn="l" defTabSz="457200" rtl="0" eaLnBrk="1" fontAlgn="b" latinLnBrk="0" hangingPunct="1"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400" b="1" kern="1200" dirty="0">
                          <a:solidFill>
                            <a:schemeClr val="dk1"/>
                          </a:solidFill>
                          <a:latin typeface="Arial Narrow"/>
                          <a:ea typeface="Calibri"/>
                          <a:cs typeface="Times New Roman"/>
                        </a:rPr>
                        <a:t>Completed</a:t>
                      </a:r>
                      <a:r>
                        <a:rPr lang="en-US" sz="1400" b="1" kern="1200" baseline="0" dirty="0">
                          <a:solidFill>
                            <a:schemeClr val="dk1"/>
                          </a:solidFill>
                          <a:latin typeface="Arial Narrow"/>
                          <a:ea typeface="Calibri"/>
                          <a:cs typeface="Times New Roman"/>
                        </a:rPr>
                        <a:t> Overhaul </a:t>
                      </a:r>
                      <a:r>
                        <a:rPr lang="en-US" sz="1400" b="1" kern="1200" dirty="0">
                          <a:solidFill>
                            <a:schemeClr val="dk1"/>
                          </a:solidFill>
                          <a:latin typeface="Arial Narrow"/>
                          <a:ea typeface="Calibri"/>
                          <a:cs typeface="Times New Roman"/>
                        </a:rPr>
                        <a:t>2018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021169336"/>
                  </a:ext>
                </a:extLst>
              </a:tr>
              <a:tr h="346381">
                <a:tc>
                  <a:txBody>
                    <a:bodyPr/>
                    <a:lstStyle/>
                    <a:p>
                      <a:pPr marL="0" marR="0" algn="l" defTabSz="457200" rtl="0" eaLnBrk="1" fontAlgn="b" latinLnBrk="0" hangingPunct="1"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400" b="1" kern="1200" dirty="0">
                          <a:solidFill>
                            <a:schemeClr val="dk1"/>
                          </a:solidFill>
                          <a:latin typeface="Arial Narrow"/>
                          <a:ea typeface="Calibri"/>
                          <a:cs typeface="Times New Roman"/>
                        </a:rPr>
                        <a:t>Neoplan</a:t>
                      </a:r>
                      <a:r>
                        <a:rPr lang="en-US" sz="1400" b="1" kern="1200" baseline="0" dirty="0">
                          <a:solidFill>
                            <a:schemeClr val="dk1"/>
                          </a:solidFill>
                          <a:latin typeface="Arial Narrow"/>
                          <a:ea typeface="Calibri"/>
                          <a:cs typeface="Times New Roman"/>
                        </a:rPr>
                        <a:t> 40-foot ETB</a:t>
                      </a:r>
                      <a:endParaRPr lang="en-US" sz="1400" b="1" kern="1200" dirty="0">
                        <a:solidFill>
                          <a:schemeClr val="dk1"/>
                        </a:solidFill>
                        <a:latin typeface="Arial Narrow"/>
                        <a:ea typeface="Calibri"/>
                        <a:cs typeface="Times New Roman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algn="ctr" defTabSz="457200" rtl="0" eaLnBrk="1" fontAlgn="b" latinLnBrk="0" hangingPunct="1"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400" b="1" kern="1200" dirty="0">
                          <a:solidFill>
                            <a:schemeClr val="dk1"/>
                          </a:solidFill>
                          <a:latin typeface="Arial Narrow"/>
                          <a:ea typeface="Calibri"/>
                          <a:cs typeface="Times New Roman"/>
                        </a:rPr>
                        <a:t>200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algn="ctr" defTabSz="457200" rtl="0" eaLnBrk="1" fontAlgn="b" latinLnBrk="0" hangingPunct="1"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400" b="1" kern="1200" dirty="0">
                          <a:solidFill>
                            <a:schemeClr val="dk1"/>
                          </a:solidFill>
                          <a:latin typeface="Arial Narrow"/>
                          <a:ea typeface="Calibri"/>
                          <a:cs typeface="Times New Roman"/>
                        </a:rPr>
                        <a:t>2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algn="l" defTabSz="457200" rtl="0" eaLnBrk="1" fontAlgn="b" latinLnBrk="0" hangingPunct="1"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400" b="1" kern="1200" dirty="0">
                          <a:solidFill>
                            <a:schemeClr val="dk1"/>
                          </a:solidFill>
                          <a:latin typeface="Arial Narrow"/>
                          <a:ea typeface="Calibri"/>
                          <a:cs typeface="Times New Roman"/>
                        </a:rPr>
                        <a:t>Completed</a:t>
                      </a:r>
                      <a:r>
                        <a:rPr lang="en-US" sz="1400" b="1" kern="1200" baseline="0" dirty="0">
                          <a:solidFill>
                            <a:schemeClr val="dk1"/>
                          </a:solidFill>
                          <a:latin typeface="Arial Narrow"/>
                          <a:ea typeface="Calibri"/>
                          <a:cs typeface="Times New Roman"/>
                        </a:rPr>
                        <a:t> In-House Overhaul</a:t>
                      </a:r>
                      <a:endParaRPr lang="en-US" sz="1400" b="1" kern="1200" dirty="0">
                        <a:solidFill>
                          <a:schemeClr val="dk1"/>
                        </a:solidFill>
                        <a:latin typeface="Arial Narrow"/>
                        <a:ea typeface="Calibri"/>
                        <a:cs typeface="Times New Roman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97702531"/>
                  </a:ext>
                </a:extLst>
              </a:tr>
              <a:tr h="346381">
                <a:tc>
                  <a:txBody>
                    <a:bodyPr/>
                    <a:lstStyle/>
                    <a:p>
                      <a:pPr marL="0" marR="0" algn="l" defTabSz="457200" rtl="0" eaLnBrk="1" fontAlgn="b" latinLnBrk="0" hangingPunct="1"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400" b="1" kern="1200" dirty="0">
                          <a:solidFill>
                            <a:schemeClr val="dk1"/>
                          </a:solidFill>
                          <a:latin typeface="Arial Narrow"/>
                          <a:ea typeface="Calibri"/>
                          <a:cs typeface="Times New Roman"/>
                        </a:rPr>
                        <a:t>New</a:t>
                      </a:r>
                      <a:r>
                        <a:rPr lang="en-US" sz="1400" b="1" kern="1200" baseline="0" dirty="0">
                          <a:solidFill>
                            <a:schemeClr val="dk1"/>
                          </a:solidFill>
                          <a:latin typeface="Arial Narrow"/>
                          <a:ea typeface="Calibri"/>
                          <a:cs typeface="Times New Roman"/>
                        </a:rPr>
                        <a:t> Flyer 40</a:t>
                      </a:r>
                      <a:r>
                        <a:rPr lang="en-US" sz="1400" b="1" kern="1200" dirty="0">
                          <a:solidFill>
                            <a:schemeClr val="dk1"/>
                          </a:solidFill>
                          <a:latin typeface="Arial Narrow"/>
                          <a:ea typeface="Calibri"/>
                          <a:cs typeface="Times New Roman"/>
                        </a:rPr>
                        <a:t>-foot </a:t>
                      </a:r>
                      <a:r>
                        <a:rPr lang="en-US" sz="1400" b="1" kern="1200" baseline="0" dirty="0">
                          <a:solidFill>
                            <a:schemeClr val="dk1"/>
                          </a:solidFill>
                          <a:latin typeface="Arial Narrow"/>
                          <a:ea typeface="Calibri"/>
                          <a:cs typeface="Times New Roman"/>
                        </a:rPr>
                        <a:t>ECD 155 (base)</a:t>
                      </a:r>
                      <a:endParaRPr lang="en-US" sz="1400" b="1" kern="1200" dirty="0">
                        <a:solidFill>
                          <a:schemeClr val="dk1"/>
                        </a:solidFill>
                        <a:latin typeface="Arial Narrow"/>
                        <a:ea typeface="Calibri"/>
                        <a:cs typeface="Times New Roman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algn="ctr" defTabSz="457200" rtl="0" eaLnBrk="1" fontAlgn="b" latinLnBrk="0" hangingPunct="1"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400" b="1" kern="1200" dirty="0">
                          <a:solidFill>
                            <a:schemeClr val="dk1"/>
                          </a:solidFill>
                          <a:latin typeface="Arial Narrow"/>
                          <a:ea typeface="Calibri"/>
                          <a:cs typeface="Times New Roman"/>
                        </a:rPr>
                        <a:t>2006-0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algn="ctr" defTabSz="457200" rtl="0" eaLnBrk="1" fontAlgn="b" latinLnBrk="0" hangingPunct="1"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400" b="1" kern="1200" dirty="0">
                          <a:solidFill>
                            <a:schemeClr val="dk1"/>
                          </a:solidFill>
                          <a:latin typeface="Arial Narrow"/>
                          <a:ea typeface="Calibri"/>
                          <a:cs typeface="Times New Roman"/>
                        </a:rPr>
                        <a:t>15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algn="l" defTabSz="457200" rtl="0" eaLnBrk="1" fontAlgn="b" latinLnBrk="0" hangingPunct="1"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400" b="1" kern="1200" dirty="0">
                          <a:solidFill>
                            <a:schemeClr val="dk1"/>
                          </a:solidFill>
                          <a:latin typeface="Arial Narrow"/>
                          <a:ea typeface="Calibri"/>
                          <a:cs typeface="Times New Roman"/>
                        </a:rPr>
                        <a:t>Completed In-House </a:t>
                      </a:r>
                      <a:r>
                        <a:rPr lang="en-US" sz="1400" b="1" kern="1200" baseline="0" dirty="0">
                          <a:solidFill>
                            <a:schemeClr val="dk1"/>
                          </a:solidFill>
                          <a:latin typeface="Arial Narrow"/>
                          <a:ea typeface="Calibri"/>
                          <a:cs typeface="Times New Roman"/>
                        </a:rPr>
                        <a:t>Overhaul</a:t>
                      </a:r>
                      <a:endParaRPr lang="en-US" sz="1400" b="1" kern="1200" dirty="0">
                        <a:solidFill>
                          <a:schemeClr val="dk1"/>
                        </a:solidFill>
                        <a:latin typeface="Arial Narrow"/>
                        <a:ea typeface="Calibri"/>
                        <a:cs typeface="Times New Roman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803204530"/>
                  </a:ext>
                </a:extLst>
              </a:tr>
              <a:tr h="346381">
                <a:tc>
                  <a:txBody>
                    <a:bodyPr/>
                    <a:lstStyle/>
                    <a:p>
                      <a:pPr marL="0" marR="0" algn="l" defTabSz="457200" rtl="0" eaLnBrk="1" fontAlgn="b" latinLnBrk="0" hangingPunct="1"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400" b="1" kern="1200" dirty="0">
                          <a:solidFill>
                            <a:schemeClr val="dk1"/>
                          </a:solidFill>
                          <a:latin typeface="Arial Narrow"/>
                          <a:ea typeface="Calibri"/>
                          <a:cs typeface="Times New Roman"/>
                        </a:rPr>
                        <a:t>New</a:t>
                      </a:r>
                      <a:r>
                        <a:rPr lang="en-US" sz="1400" b="1" kern="1200" baseline="0" dirty="0">
                          <a:solidFill>
                            <a:schemeClr val="dk1"/>
                          </a:solidFill>
                          <a:latin typeface="Arial Narrow"/>
                          <a:ea typeface="Calibri"/>
                          <a:cs typeface="Times New Roman"/>
                        </a:rPr>
                        <a:t> Flyer 40</a:t>
                      </a:r>
                      <a:r>
                        <a:rPr lang="en-US" sz="1400" b="1" kern="1200" dirty="0">
                          <a:solidFill>
                            <a:schemeClr val="dk1"/>
                          </a:solidFill>
                          <a:latin typeface="Arial Narrow"/>
                          <a:ea typeface="Calibri"/>
                          <a:cs typeface="Times New Roman"/>
                        </a:rPr>
                        <a:t>-foot </a:t>
                      </a:r>
                      <a:r>
                        <a:rPr lang="en-US" sz="1400" b="1" kern="1200" baseline="0" dirty="0">
                          <a:solidFill>
                            <a:schemeClr val="dk1"/>
                          </a:solidFill>
                          <a:latin typeface="Arial Narrow"/>
                          <a:ea typeface="Calibri"/>
                          <a:cs typeface="Times New Roman"/>
                        </a:rPr>
                        <a:t>ECD 155 (option)</a:t>
                      </a:r>
                      <a:endParaRPr lang="en-US" sz="1400" b="1" kern="1200" dirty="0">
                        <a:solidFill>
                          <a:schemeClr val="dk1"/>
                        </a:solidFill>
                        <a:latin typeface="Arial Narrow"/>
                        <a:ea typeface="Calibri"/>
                        <a:cs typeface="Times New Roman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algn="ctr" defTabSz="457200" rtl="0" eaLnBrk="1" fontAlgn="b" latinLnBrk="0" hangingPunct="1"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400" b="1" kern="1200" dirty="0">
                          <a:solidFill>
                            <a:schemeClr val="dk1"/>
                          </a:solidFill>
                          <a:latin typeface="Arial Narrow"/>
                          <a:ea typeface="Calibri"/>
                          <a:cs typeface="Times New Roman"/>
                        </a:rPr>
                        <a:t>2008-0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algn="ctr" defTabSz="457200" rtl="0" eaLnBrk="1" fontAlgn="b" latinLnBrk="0" hangingPunct="1"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400" b="1" kern="1200" dirty="0">
                          <a:solidFill>
                            <a:schemeClr val="dk1"/>
                          </a:solidFill>
                          <a:latin typeface="Arial Narrow"/>
                          <a:ea typeface="Calibri"/>
                          <a:cs typeface="Times New Roman"/>
                        </a:rPr>
                        <a:t>15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algn="l" defTabSz="457200" rtl="0" eaLnBrk="1" fontAlgn="b" latinLnBrk="0" hangingPunct="1"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400" b="1" kern="1200" baseline="0" dirty="0">
                          <a:solidFill>
                            <a:schemeClr val="dk1"/>
                          </a:solidFill>
                          <a:latin typeface="Arial Narrow"/>
                          <a:ea typeface="Calibri"/>
                          <a:cs typeface="Times New Roman"/>
                        </a:rPr>
                        <a:t>Overhaul Expected Completion </a:t>
                      </a:r>
                      <a:r>
                        <a:rPr lang="en-US" sz="1400" b="1" kern="1200" dirty="0">
                          <a:solidFill>
                            <a:schemeClr val="dk1"/>
                          </a:solidFill>
                          <a:latin typeface="Arial Narrow"/>
                          <a:ea typeface="Calibri"/>
                          <a:cs typeface="Times New Roman"/>
                        </a:rPr>
                        <a:t>2019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872303832"/>
                  </a:ext>
                </a:extLst>
              </a:tr>
              <a:tr h="346381">
                <a:tc>
                  <a:txBody>
                    <a:bodyPr/>
                    <a:lstStyle/>
                    <a:p>
                      <a:pPr marL="0" marR="0" algn="l" defTabSz="457200" rtl="0" eaLnBrk="1" fontAlgn="b" latinLnBrk="0" hangingPunct="1"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400" b="1" kern="1200" dirty="0">
                          <a:solidFill>
                            <a:schemeClr val="dk1"/>
                          </a:solidFill>
                          <a:latin typeface="Arial Narrow"/>
                          <a:ea typeface="Calibri"/>
                          <a:cs typeface="Times New Roman"/>
                        </a:rPr>
                        <a:t>New</a:t>
                      </a:r>
                      <a:r>
                        <a:rPr lang="en-US" sz="1400" b="1" kern="1200" baseline="0" dirty="0">
                          <a:solidFill>
                            <a:schemeClr val="dk1"/>
                          </a:solidFill>
                          <a:latin typeface="Arial Narrow"/>
                          <a:ea typeface="Calibri"/>
                          <a:cs typeface="Times New Roman"/>
                        </a:rPr>
                        <a:t> Flyer 60</a:t>
                      </a:r>
                      <a:r>
                        <a:rPr lang="en-US" sz="1400" b="1" kern="1200" dirty="0">
                          <a:solidFill>
                            <a:schemeClr val="dk1"/>
                          </a:solidFill>
                          <a:latin typeface="Arial Narrow"/>
                          <a:ea typeface="Calibri"/>
                          <a:cs typeface="Times New Roman"/>
                        </a:rPr>
                        <a:t>-foot</a:t>
                      </a:r>
                      <a:r>
                        <a:rPr lang="en-US" sz="1400" b="1" kern="1200" baseline="0" dirty="0">
                          <a:solidFill>
                            <a:schemeClr val="dk1"/>
                          </a:solidFill>
                          <a:latin typeface="Arial Narrow"/>
                          <a:ea typeface="Calibri"/>
                          <a:cs typeface="Times New Roman"/>
                        </a:rPr>
                        <a:t> Hybrid</a:t>
                      </a:r>
                      <a:endParaRPr lang="en-US" sz="1400" b="1" kern="1200" dirty="0">
                        <a:solidFill>
                          <a:schemeClr val="dk1"/>
                        </a:solidFill>
                        <a:latin typeface="Arial Narrow"/>
                        <a:ea typeface="Calibri"/>
                        <a:cs typeface="Times New Roman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algn="ctr" defTabSz="457200" rtl="0" eaLnBrk="1" fontAlgn="b" latinLnBrk="0" hangingPunct="1"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400" b="1" kern="1200" dirty="0">
                          <a:solidFill>
                            <a:schemeClr val="dk1"/>
                          </a:solidFill>
                          <a:latin typeface="Arial Narrow"/>
                          <a:ea typeface="Calibri"/>
                          <a:cs typeface="Times New Roman"/>
                        </a:rPr>
                        <a:t>201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algn="ctr" defTabSz="457200" rtl="0" eaLnBrk="1" fontAlgn="b" latinLnBrk="0" hangingPunct="1"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400" b="1" kern="1200" dirty="0">
                          <a:solidFill>
                            <a:schemeClr val="dk1"/>
                          </a:solidFill>
                          <a:latin typeface="Arial Narrow"/>
                          <a:ea typeface="Calibri"/>
                          <a:cs typeface="Times New Roman"/>
                        </a:rPr>
                        <a:t>2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algn="l" defTabSz="457200" rtl="0" eaLnBrk="1" fontAlgn="b" latinLnBrk="0" hangingPunct="1"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400" b="1" kern="1200" dirty="0">
                          <a:solidFill>
                            <a:schemeClr val="dk1"/>
                          </a:solidFill>
                          <a:latin typeface="Arial Narrow"/>
                          <a:ea typeface="Calibri"/>
                          <a:cs typeface="Times New Roman"/>
                        </a:rPr>
                        <a:t>Specification Development 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856562233"/>
                  </a:ext>
                </a:extLst>
              </a:tr>
              <a:tr h="346381">
                <a:tc>
                  <a:txBody>
                    <a:bodyPr/>
                    <a:lstStyle/>
                    <a:p>
                      <a:pPr marL="0" marR="0" algn="l" defTabSz="457200" rtl="0" eaLnBrk="1" fontAlgn="b" latinLnBrk="0" hangingPunct="1"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400" b="1" kern="1200" dirty="0">
                          <a:solidFill>
                            <a:schemeClr val="dk1"/>
                          </a:solidFill>
                          <a:latin typeface="Arial Narrow"/>
                          <a:ea typeface="Calibri"/>
                          <a:cs typeface="Times New Roman"/>
                        </a:rPr>
                        <a:t>New Flyer 40-foot Hybrid (Conn</a:t>
                      </a:r>
                      <a:r>
                        <a:rPr lang="en-US" sz="1400" b="1" kern="1200" baseline="0" dirty="0">
                          <a:solidFill>
                            <a:schemeClr val="dk1"/>
                          </a:solidFill>
                          <a:latin typeface="Arial Narrow"/>
                          <a:ea typeface="Calibri"/>
                          <a:cs typeface="Times New Roman"/>
                        </a:rPr>
                        <a:t>DOT option)</a:t>
                      </a:r>
                      <a:endParaRPr lang="en-US" sz="1400" b="1" kern="1200" dirty="0">
                        <a:solidFill>
                          <a:schemeClr val="dk1"/>
                        </a:solidFill>
                        <a:latin typeface="Arial Narrow"/>
                        <a:ea typeface="Calibri"/>
                        <a:cs typeface="Times New Roman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algn="ctr" defTabSz="457200" rtl="0" eaLnBrk="1" fontAlgn="b" latinLnBrk="0" hangingPunct="1"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400" b="1" kern="1200" dirty="0">
                          <a:solidFill>
                            <a:schemeClr val="dk1"/>
                          </a:solidFill>
                          <a:latin typeface="Arial Narrow"/>
                          <a:ea typeface="Calibri"/>
                          <a:cs typeface="Times New Roman"/>
                        </a:rPr>
                        <a:t>201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algn="ctr" defTabSz="457200" rtl="0" eaLnBrk="1" fontAlgn="b" latinLnBrk="0" hangingPunct="1"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400" b="1" kern="1200" dirty="0">
                          <a:solidFill>
                            <a:schemeClr val="dk1"/>
                          </a:solidFill>
                          <a:latin typeface="Arial Narrow"/>
                          <a:ea typeface="Calibri"/>
                          <a:cs typeface="Times New Roman"/>
                        </a:rPr>
                        <a:t>6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algn="l" defTabSz="457200" rtl="0" eaLnBrk="1" fontAlgn="b" latinLnBrk="0" hangingPunct="1"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400" b="1" kern="1200" dirty="0">
                          <a:solidFill>
                            <a:schemeClr val="dk1"/>
                          </a:solidFill>
                          <a:latin typeface="Arial Narrow"/>
                          <a:ea typeface="Calibri"/>
                          <a:cs typeface="Times New Roman"/>
                        </a:rPr>
                        <a:t>Overhaul Anticipated 2020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168670435"/>
                  </a:ext>
                </a:extLst>
              </a:tr>
              <a:tr h="346381">
                <a:tc>
                  <a:txBody>
                    <a:bodyPr/>
                    <a:lstStyle/>
                    <a:p>
                      <a:pPr marL="0" marR="0" algn="l" defTabSz="457200" rtl="0" eaLnBrk="1" fontAlgn="b" latinLnBrk="0" hangingPunct="1"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400" b="1" kern="1200" dirty="0">
                          <a:solidFill>
                            <a:schemeClr val="dk1"/>
                          </a:solidFill>
                          <a:latin typeface="Arial Narrow"/>
                          <a:ea typeface="Calibri"/>
                          <a:cs typeface="Times New Roman"/>
                        </a:rPr>
                        <a:t>New Flyer 40-foot Hybri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algn="ctr" defTabSz="457200" rtl="0" eaLnBrk="1" fontAlgn="b" latinLnBrk="0" hangingPunct="1"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400" b="1" kern="1200" dirty="0">
                          <a:solidFill>
                            <a:schemeClr val="dk1"/>
                          </a:solidFill>
                          <a:latin typeface="Arial Narrow"/>
                          <a:ea typeface="Calibri"/>
                          <a:cs typeface="Times New Roman"/>
                        </a:rPr>
                        <a:t>2016-1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algn="ctr" defTabSz="457200" rtl="0" eaLnBrk="1" fontAlgn="b" latinLnBrk="0" hangingPunct="1"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400" b="1" kern="1200" dirty="0">
                          <a:solidFill>
                            <a:schemeClr val="dk1"/>
                          </a:solidFill>
                          <a:latin typeface="Arial Narrow"/>
                          <a:ea typeface="Calibri"/>
                          <a:cs typeface="Times New Roman"/>
                        </a:rPr>
                        <a:t>150 + 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algn="l" defTabSz="457200" rtl="0" eaLnBrk="1" fontAlgn="b" latinLnBrk="0" hangingPunct="1"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400" b="1" kern="1200" dirty="0">
                          <a:solidFill>
                            <a:schemeClr val="dk1"/>
                          </a:solidFill>
                          <a:latin typeface="Arial Narrow"/>
                          <a:ea typeface="Calibri"/>
                          <a:cs typeface="Times New Roman"/>
                        </a:rPr>
                        <a:t>Overhaul Anticipated 2023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231896148"/>
                  </a:ext>
                </a:extLst>
              </a:tr>
              <a:tr h="346381">
                <a:tc>
                  <a:txBody>
                    <a:bodyPr/>
                    <a:lstStyle/>
                    <a:p>
                      <a:pPr marL="0" marR="0" algn="l" defTabSz="457200" rtl="0" eaLnBrk="1" fontAlgn="b" latinLnBrk="0" hangingPunct="1"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400" b="1" kern="1200" dirty="0">
                          <a:solidFill>
                            <a:schemeClr val="dk1"/>
                          </a:solidFill>
                          <a:latin typeface="Arial Narrow"/>
                          <a:ea typeface="Calibri"/>
                          <a:cs typeface="Times New Roman"/>
                        </a:rPr>
                        <a:t>New Flyer 40-foot CNG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algn="ctr" defTabSz="457200" rtl="0" eaLnBrk="1" fontAlgn="b" latinLnBrk="0" hangingPunct="1"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400" b="1" kern="1200" dirty="0">
                          <a:solidFill>
                            <a:schemeClr val="dk1"/>
                          </a:solidFill>
                          <a:latin typeface="Arial Narrow"/>
                          <a:ea typeface="Calibri"/>
                          <a:cs typeface="Times New Roman"/>
                        </a:rPr>
                        <a:t>2016-1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algn="ctr" defTabSz="457200" rtl="0" eaLnBrk="1" fontAlgn="b" latinLnBrk="0" hangingPunct="1"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400" b="1" kern="1200" dirty="0">
                          <a:solidFill>
                            <a:schemeClr val="dk1"/>
                          </a:solidFill>
                          <a:latin typeface="Arial Narrow"/>
                          <a:ea typeface="Calibri"/>
                          <a:cs typeface="Times New Roman"/>
                        </a:rPr>
                        <a:t>17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algn="l" defTabSz="457200" rtl="0" eaLnBrk="1" fontAlgn="b" latinLnBrk="0" hangingPunct="1"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400" b="1" kern="1200" dirty="0">
                          <a:solidFill>
                            <a:schemeClr val="dk1"/>
                          </a:solidFill>
                          <a:latin typeface="Arial Narrow"/>
                          <a:ea typeface="Calibri"/>
                          <a:cs typeface="Times New Roman"/>
                        </a:rPr>
                        <a:t>Overhaul Anticipated 2023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171384791"/>
                  </a:ext>
                </a:extLst>
              </a:tr>
              <a:tr h="346381">
                <a:tc>
                  <a:txBody>
                    <a:bodyPr/>
                    <a:lstStyle/>
                    <a:p>
                      <a:pPr marL="0" marR="0" algn="l" defTabSz="457200" rtl="0" eaLnBrk="1" fontAlgn="b" latinLnBrk="0" hangingPunct="1"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400" b="1" kern="1200" dirty="0">
                          <a:solidFill>
                            <a:schemeClr val="dk1"/>
                          </a:solidFill>
                          <a:latin typeface="Arial Narrow"/>
                          <a:ea typeface="Calibri"/>
                          <a:cs typeface="Times New Roman"/>
                        </a:rPr>
                        <a:t>New</a:t>
                      </a:r>
                      <a:r>
                        <a:rPr lang="en-US" sz="1400" b="1" kern="1200" baseline="0" dirty="0">
                          <a:solidFill>
                            <a:schemeClr val="dk1"/>
                          </a:solidFill>
                          <a:latin typeface="Arial Narrow"/>
                          <a:ea typeface="Calibri"/>
                          <a:cs typeface="Times New Roman"/>
                        </a:rPr>
                        <a:t> Flyer 60</a:t>
                      </a:r>
                      <a:r>
                        <a:rPr lang="en-US" sz="1400" b="1" kern="1200" dirty="0">
                          <a:solidFill>
                            <a:schemeClr val="dk1"/>
                          </a:solidFill>
                          <a:latin typeface="Arial Narrow"/>
                          <a:ea typeface="Calibri"/>
                          <a:cs typeface="Times New Roman"/>
                        </a:rPr>
                        <a:t>-foot</a:t>
                      </a:r>
                      <a:r>
                        <a:rPr lang="en-US" sz="1400" b="1" kern="1200" baseline="0" dirty="0">
                          <a:solidFill>
                            <a:schemeClr val="dk1"/>
                          </a:solidFill>
                          <a:latin typeface="Arial Narrow"/>
                          <a:ea typeface="Calibri"/>
                          <a:cs typeface="Times New Roman"/>
                        </a:rPr>
                        <a:t> Hybrid</a:t>
                      </a:r>
                      <a:endParaRPr lang="en-US" sz="1400" b="1" kern="1200" dirty="0">
                        <a:solidFill>
                          <a:schemeClr val="dk1"/>
                        </a:solidFill>
                        <a:latin typeface="Arial Narrow"/>
                        <a:ea typeface="Calibri"/>
                        <a:cs typeface="Times New Roman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algn="ctr" defTabSz="457200" rtl="0" eaLnBrk="1" fontAlgn="b" latinLnBrk="0" hangingPunct="1"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400" b="1" kern="1200" dirty="0">
                          <a:solidFill>
                            <a:schemeClr val="dk1"/>
                          </a:solidFill>
                          <a:latin typeface="Arial Narrow"/>
                          <a:ea typeface="Calibri"/>
                          <a:cs typeface="Times New Roman"/>
                        </a:rPr>
                        <a:t>2016-1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algn="ctr" defTabSz="457200" rtl="0" eaLnBrk="1" fontAlgn="b" latinLnBrk="0" hangingPunct="1"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400" b="1" kern="1200" dirty="0">
                          <a:solidFill>
                            <a:schemeClr val="dk1"/>
                          </a:solidFill>
                          <a:latin typeface="Arial Narrow"/>
                          <a:ea typeface="Calibri"/>
                          <a:cs typeface="Times New Roman"/>
                        </a:rPr>
                        <a:t>44 + 1*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algn="l" defTabSz="457200" rtl="0" eaLnBrk="1" fontAlgn="b" latinLnBrk="0" hangingPunct="1"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400" b="1" kern="1200" dirty="0">
                          <a:solidFill>
                            <a:schemeClr val="dk1"/>
                          </a:solidFill>
                          <a:latin typeface="Arial Narrow"/>
                          <a:ea typeface="Calibri"/>
                          <a:cs typeface="Times New Roman"/>
                        </a:rPr>
                        <a:t>Overhaul Anticipated 2023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081614404"/>
                  </a:ext>
                </a:extLst>
              </a:tr>
              <a:tr h="346381">
                <a:tc>
                  <a:txBody>
                    <a:bodyPr/>
                    <a:lstStyle/>
                    <a:p>
                      <a:pPr marL="0" marR="0" algn="l" defTabSz="457200" rtl="0" eaLnBrk="1" fontAlgn="b" latinLnBrk="0" hangingPunct="1"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400" b="1" kern="1200" dirty="0">
                          <a:solidFill>
                            <a:schemeClr val="dk1"/>
                          </a:solidFill>
                          <a:latin typeface="Arial Narrow"/>
                          <a:ea typeface="Calibri"/>
                          <a:cs typeface="Times New Roman"/>
                        </a:rPr>
                        <a:t>New Flyer 40-foot Hybrid (option)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algn="ctr" defTabSz="457200" rtl="0" eaLnBrk="1" fontAlgn="b" latinLnBrk="0" hangingPunct="1"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400" b="1" kern="1200" dirty="0">
                          <a:solidFill>
                            <a:schemeClr val="dk1"/>
                          </a:solidFill>
                          <a:latin typeface="Arial Narrow"/>
                          <a:ea typeface="Calibri"/>
                          <a:cs typeface="Times New Roman"/>
                        </a:rPr>
                        <a:t>Anticipated 2019-2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algn="ctr" defTabSz="457200" rtl="0" eaLnBrk="1" fontAlgn="b" latinLnBrk="0" hangingPunct="1"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400" b="1" kern="1200" dirty="0">
                          <a:solidFill>
                            <a:schemeClr val="dk1"/>
                          </a:solidFill>
                          <a:latin typeface="Arial Narrow"/>
                          <a:ea typeface="Calibri"/>
                          <a:cs typeface="Times New Roman"/>
                        </a:rPr>
                        <a:t>19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algn="l" defTabSz="457200" rtl="0" eaLnBrk="1" fontAlgn="b" latinLnBrk="0" hangingPunct="1"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400" b="1" kern="1200" dirty="0">
                          <a:solidFill>
                            <a:schemeClr val="dk1"/>
                          </a:solidFill>
                          <a:latin typeface="Arial Narrow"/>
                          <a:ea typeface="Calibri"/>
                          <a:cs typeface="Times New Roman"/>
                        </a:rPr>
                        <a:t>Execute Option</a:t>
                      </a:r>
                      <a:br>
                        <a:rPr lang="en-US" sz="1400" b="1" kern="1200" dirty="0">
                          <a:solidFill>
                            <a:schemeClr val="dk1"/>
                          </a:solidFill>
                          <a:latin typeface="Arial Narrow"/>
                          <a:ea typeface="Calibri"/>
                          <a:cs typeface="Times New Roman"/>
                        </a:rPr>
                      </a:br>
                      <a:r>
                        <a:rPr lang="en-US" sz="1400" b="1" kern="1200" dirty="0">
                          <a:solidFill>
                            <a:schemeClr val="dk1"/>
                          </a:solidFill>
                          <a:latin typeface="Arial Narrow"/>
                          <a:ea typeface="Calibri"/>
                          <a:cs typeface="Times New Roman"/>
                        </a:rPr>
                        <a:t>FMCB Board</a:t>
                      </a:r>
                      <a:r>
                        <a:rPr lang="en-US" sz="1400" b="1" kern="1200" baseline="0" dirty="0">
                          <a:solidFill>
                            <a:schemeClr val="dk1"/>
                          </a:solidFill>
                          <a:latin typeface="Arial Narrow"/>
                          <a:ea typeface="Calibri"/>
                          <a:cs typeface="Times New Roman"/>
                        </a:rPr>
                        <a:t> 10/2018</a:t>
                      </a:r>
                      <a:endParaRPr lang="en-US" sz="1400" b="1" kern="1200" dirty="0">
                        <a:solidFill>
                          <a:schemeClr val="dk1"/>
                        </a:solidFill>
                        <a:latin typeface="Arial Narrow"/>
                        <a:ea typeface="Calibri"/>
                        <a:cs typeface="Times New Roman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88906700"/>
                  </a:ext>
                </a:extLst>
              </a:tr>
            </a:tbl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762000" y="6003052"/>
            <a:ext cx="62484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r>
              <a:rPr lang="en-US" sz="1000" dirty="0">
                <a:latin typeface="+mj-lt"/>
              </a:rPr>
              <a:t>* 45</a:t>
            </a:r>
            <a:r>
              <a:rPr lang="en-US" sz="1000" baseline="30000" dirty="0">
                <a:latin typeface="+mj-lt"/>
              </a:rPr>
              <a:t>th</a:t>
            </a:r>
            <a:r>
              <a:rPr lang="en-US" sz="1000" dirty="0">
                <a:latin typeface="+mj-lt"/>
              </a:rPr>
              <a:t> extended 60’ hybrid option bus delivered September 2018</a:t>
            </a:r>
          </a:p>
        </p:txBody>
      </p:sp>
      <p:sp>
        <p:nvSpPr>
          <p:cNvPr id="8" name="Rectangle 9">
            <a:extLst>
              <a:ext uri="{FF2B5EF4-FFF2-40B4-BE49-F238E27FC236}">
                <a16:creationId xmlns:a16="http://schemas.microsoft.com/office/drawing/2014/main" id="{D8AB8BEA-972D-4860-9566-F377526301B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7200" y="381000"/>
            <a:ext cx="7162800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100" b="1" dirty="0" smtClean="0">
                <a:solidFill>
                  <a:srgbClr val="00269E"/>
                </a:solidFill>
                <a:latin typeface="Arial" panose="020B0604020202020204" pitchFamily="34" charset="0"/>
              </a:rPr>
              <a:t>Near-Term Bus Fleet and Facility Program</a:t>
            </a:r>
            <a:endParaRPr lang="en-US" altLang="en-US" sz="1100" b="1" dirty="0">
              <a:solidFill>
                <a:srgbClr val="00269E"/>
              </a:solidFill>
              <a:latin typeface="Arial" panose="020B0604020202020204" pitchFamily="34" charset="0"/>
            </a:endParaRPr>
          </a:p>
        </p:txBody>
      </p:sp>
      <p:sp>
        <p:nvSpPr>
          <p:cNvPr id="9" name="Rectangle 9">
            <a:extLst>
              <a:ext uri="{FF2B5EF4-FFF2-40B4-BE49-F238E27FC236}">
                <a16:creationId xmlns:a16="http://schemas.microsoft.com/office/drawing/2014/main" id="{D8AB8BEA-972D-4860-9566-F377526301B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600" y="533400"/>
            <a:ext cx="7162800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100" b="1" dirty="0" smtClean="0">
                <a:solidFill>
                  <a:srgbClr val="00269E"/>
                </a:solidFill>
                <a:latin typeface="Arial" panose="020B0604020202020204" pitchFamily="34" charset="0"/>
              </a:rPr>
              <a:t>Near-Term Bus Fleet and Facility Program</a:t>
            </a:r>
            <a:endParaRPr lang="en-US" altLang="en-US" sz="1100" b="1" dirty="0">
              <a:solidFill>
                <a:srgbClr val="00269E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273479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Bus Facility Summary Statistics</a:t>
            </a:r>
            <a:endParaRPr lang="en-US" sz="2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" name="Content Placeholder 2"/>
          <p:cNvSpPr txBox="1">
            <a:spLocks/>
          </p:cNvSpPr>
          <p:nvPr/>
        </p:nvSpPr>
        <p:spPr>
          <a:xfrm>
            <a:off x="462684" y="1514856"/>
            <a:ext cx="8300316" cy="4351338"/>
          </a:xfrm>
          <a:prstGeom prst="rect">
            <a:avLst/>
          </a:prstGeom>
        </p:spPr>
        <p:txBody>
          <a:bodyPr/>
          <a:lstStyle>
            <a:lvl1pPr marL="228600" indent="-228600" algn="l" rtl="0" eaLnBrk="1" fontAlgn="base" hangingPunct="1">
              <a:spcBef>
                <a:spcPct val="100000"/>
              </a:spcBef>
              <a:spcAft>
                <a:spcPct val="0"/>
              </a:spcAft>
              <a:buClr>
                <a:srgbClr val="0033CC"/>
              </a:buClr>
              <a:buChar char="•"/>
              <a:defRPr sz="2400" b="1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576263" indent="-233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2pPr>
            <a:lvl3pPr marL="914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3pPr>
            <a:lvl4pPr marL="1262063" indent="-233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4pPr>
            <a:lvl5pPr marL="16002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>
              <a:buNone/>
            </a:pPr>
            <a:endParaRPr lang="en-US" kern="0" dirty="0" smtClean="0"/>
          </a:p>
          <a:p>
            <a:endParaRPr lang="en-US" kern="0" dirty="0" smtClean="0"/>
          </a:p>
          <a:p>
            <a:endParaRPr lang="en-US" kern="0" dirty="0" smtClean="0"/>
          </a:p>
          <a:p>
            <a:pPr marL="0" indent="0">
              <a:buFontTx/>
              <a:buNone/>
            </a:pPr>
            <a:endParaRPr lang="en-US" kern="0" dirty="0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/>
          </p:nvPr>
        </p:nvGraphicFramePr>
        <p:xfrm>
          <a:off x="462683" y="1397000"/>
          <a:ext cx="8300316" cy="4226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499717">
                  <a:extLst>
                    <a:ext uri="{9D8B030D-6E8A-4147-A177-3AD203B41FA5}">
                      <a16:colId xmlns:a16="http://schemas.microsoft.com/office/drawing/2014/main" val="3856264324"/>
                    </a:ext>
                  </a:extLst>
                </a:gridCol>
                <a:gridCol w="1143000">
                  <a:extLst>
                    <a:ext uri="{9D8B030D-6E8A-4147-A177-3AD203B41FA5}">
                      <a16:colId xmlns:a16="http://schemas.microsoft.com/office/drawing/2014/main" val="194869385"/>
                    </a:ext>
                  </a:extLst>
                </a:gridCol>
                <a:gridCol w="2209800">
                  <a:extLst>
                    <a:ext uri="{9D8B030D-6E8A-4147-A177-3AD203B41FA5}">
                      <a16:colId xmlns:a16="http://schemas.microsoft.com/office/drawing/2014/main" val="3439773942"/>
                    </a:ext>
                  </a:extLst>
                </a:gridCol>
                <a:gridCol w="1447799">
                  <a:extLst>
                    <a:ext uri="{9D8B030D-6E8A-4147-A177-3AD203B41FA5}">
                      <a16:colId xmlns:a16="http://schemas.microsoft.com/office/drawing/2014/main" val="199751124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Name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Year Built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Vehicle Capacity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Condition</a:t>
                      </a:r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6269936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Alban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94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16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rgbClr val="FFC000"/>
                          </a:solidFill>
                        </a:rPr>
                        <a:t>2.7</a:t>
                      </a:r>
                      <a:endParaRPr lang="en-US" dirty="0">
                        <a:solidFill>
                          <a:srgbClr val="FFC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497170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Arborway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2004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18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rgbClr val="00B050"/>
                          </a:solidFill>
                        </a:rPr>
                        <a:t>3.1</a:t>
                      </a:r>
                      <a:endParaRPr lang="en-US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676608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Cabot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975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8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rgbClr val="FFC000"/>
                          </a:solidFill>
                        </a:rPr>
                        <a:t>2.8</a:t>
                      </a:r>
                      <a:endParaRPr lang="en-US" dirty="0">
                        <a:solidFill>
                          <a:srgbClr val="FFC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6769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Charlestown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975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254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rgbClr val="FFC000"/>
                          </a:solidFill>
                        </a:rPr>
                        <a:t>2</a:t>
                      </a:r>
                      <a:endParaRPr lang="en-US" dirty="0">
                        <a:solidFill>
                          <a:srgbClr val="FFC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8472003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Everett Heavy Maintenanc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947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aseline="0" dirty="0" smtClean="0"/>
                        <a:t>-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rgbClr val="FFC000"/>
                          </a:solidFill>
                        </a:rPr>
                        <a:t>2.6</a:t>
                      </a:r>
                      <a:endParaRPr lang="en-US" dirty="0">
                        <a:solidFill>
                          <a:srgbClr val="FFC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9522425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err="1" smtClean="0"/>
                        <a:t>Fellsway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925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76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rgbClr val="FFC000"/>
                          </a:solidFill>
                        </a:rPr>
                        <a:t>2.4</a:t>
                      </a:r>
                      <a:endParaRPr lang="en-US" dirty="0">
                        <a:solidFill>
                          <a:srgbClr val="FFC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243521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Lynn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936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9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rgbClr val="FFC000"/>
                          </a:solidFill>
                        </a:rPr>
                        <a:t>2.7</a:t>
                      </a:r>
                      <a:endParaRPr lang="en-US" dirty="0">
                        <a:solidFill>
                          <a:srgbClr val="FFC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4793506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North Cambridg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979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28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rgbClr val="00B050"/>
                          </a:solidFill>
                        </a:rPr>
                        <a:t>3.2</a:t>
                      </a:r>
                      <a:endParaRPr lang="en-US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12109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Quincy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93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86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rgbClr val="FFC000"/>
                          </a:solidFill>
                        </a:rPr>
                        <a:t>2.4</a:t>
                      </a:r>
                      <a:endParaRPr lang="en-US" dirty="0">
                        <a:solidFill>
                          <a:srgbClr val="FFC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6582619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Southampton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200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98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rgbClr val="00B050"/>
                          </a:solidFill>
                        </a:rPr>
                        <a:t>3.6</a:t>
                      </a:r>
                      <a:endParaRPr lang="en-US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0284200"/>
                  </a:ext>
                </a:extLst>
              </a:tr>
            </a:tbl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462683" y="5866194"/>
            <a:ext cx="83003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latin typeface="+mj-lt"/>
              </a:rPr>
              <a:t>Note: Condition rating is based off of the FTA Scale Condition Rating</a:t>
            </a:r>
          </a:p>
        </p:txBody>
      </p:sp>
      <p:sp>
        <p:nvSpPr>
          <p:cNvPr id="6" name="Rectangle 9">
            <a:extLst>
              <a:ext uri="{FF2B5EF4-FFF2-40B4-BE49-F238E27FC236}">
                <a16:creationId xmlns:a16="http://schemas.microsoft.com/office/drawing/2014/main" id="{D8AB8BEA-972D-4860-9566-F377526301B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7200" y="381000"/>
            <a:ext cx="7162800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100" b="1" dirty="0" smtClean="0">
                <a:solidFill>
                  <a:srgbClr val="00269E"/>
                </a:solidFill>
                <a:latin typeface="Arial" panose="020B0604020202020204" pitchFamily="34" charset="0"/>
              </a:rPr>
              <a:t>Near-Term Bus Fleet and Facility Program</a:t>
            </a:r>
            <a:endParaRPr lang="en-US" altLang="en-US" sz="1100" b="1" dirty="0">
              <a:solidFill>
                <a:srgbClr val="00269E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29799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Problem Statement</a:t>
            </a:r>
            <a:endParaRPr lang="en-US" sz="2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" name="Content Placeholder 2"/>
          <p:cNvSpPr txBox="1">
            <a:spLocks/>
          </p:cNvSpPr>
          <p:nvPr/>
        </p:nvSpPr>
        <p:spPr>
          <a:xfrm>
            <a:off x="462684" y="1514856"/>
            <a:ext cx="8300316" cy="4351338"/>
          </a:xfrm>
          <a:prstGeom prst="rect">
            <a:avLst/>
          </a:prstGeom>
        </p:spPr>
        <p:txBody>
          <a:bodyPr/>
          <a:lstStyle>
            <a:lvl1pPr marL="228600" indent="-228600" algn="l" rtl="0" eaLnBrk="1" fontAlgn="base" hangingPunct="1">
              <a:spcBef>
                <a:spcPct val="100000"/>
              </a:spcBef>
              <a:spcAft>
                <a:spcPct val="0"/>
              </a:spcAft>
              <a:buClr>
                <a:srgbClr val="0033CC"/>
              </a:buClr>
              <a:buChar char="•"/>
              <a:defRPr sz="2400" b="1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576263" indent="-233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2pPr>
            <a:lvl3pPr marL="914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3pPr>
            <a:lvl4pPr marL="1262063" indent="-233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4pPr>
            <a:lvl5pPr marL="16002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>
              <a:buNone/>
            </a:pPr>
            <a:r>
              <a:rPr lang="en-US" kern="0" dirty="0" smtClean="0"/>
              <a:t>The MBTA bus fleet will expand over the next 25 years</a:t>
            </a:r>
          </a:p>
          <a:p>
            <a:pPr lvl="1"/>
            <a:r>
              <a:rPr lang="en-US" kern="0" dirty="0" smtClean="0"/>
              <a:t>1150 – 1400 of total bus maintenance and storage capacity will be needed</a:t>
            </a:r>
          </a:p>
          <a:p>
            <a:pPr lvl="1"/>
            <a:r>
              <a:rPr lang="en-US" kern="0" dirty="0" smtClean="0"/>
              <a:t>Ensure flexibility in new facilities to support fleet vehicle types</a:t>
            </a:r>
          </a:p>
          <a:p>
            <a:pPr lvl="1"/>
            <a:r>
              <a:rPr lang="en-US" kern="0" dirty="0" smtClean="0"/>
              <a:t>Expansion to new technologies that require new capability</a:t>
            </a:r>
          </a:p>
          <a:p>
            <a:pPr lvl="2"/>
            <a:r>
              <a:rPr lang="en-US" kern="0" dirty="0" smtClean="0"/>
              <a:t>Extended-Range Hybrid Buses</a:t>
            </a:r>
          </a:p>
          <a:p>
            <a:pPr lvl="2"/>
            <a:r>
              <a:rPr lang="en-US" kern="0" dirty="0" smtClean="0"/>
              <a:t>Electric Buses</a:t>
            </a:r>
          </a:p>
          <a:p>
            <a:pPr lvl="2"/>
            <a:endParaRPr lang="en-US" kern="0" dirty="0" smtClean="0"/>
          </a:p>
          <a:p>
            <a:pPr marL="0" indent="0">
              <a:buNone/>
            </a:pPr>
            <a:r>
              <a:rPr lang="en-US" kern="0" dirty="0" smtClean="0"/>
              <a:t>	</a:t>
            </a:r>
            <a:r>
              <a:rPr lang="en-US" kern="0" dirty="0" smtClean="0"/>
              <a:t>Building for the future</a:t>
            </a:r>
            <a:endParaRPr lang="en-US" kern="0" dirty="0" smtClean="0"/>
          </a:p>
          <a:p>
            <a:pPr marL="0" indent="0">
              <a:buFontTx/>
              <a:buNone/>
            </a:pPr>
            <a:endParaRPr lang="en-US" kern="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A36A4B3-BEAE-4EAA-ACB9-901BBD03C74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558032" y="3581400"/>
            <a:ext cx="3204968" cy="1881461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</p:pic>
      <p:sp>
        <p:nvSpPr>
          <p:cNvPr id="5" name="Rectangle 9">
            <a:extLst>
              <a:ext uri="{FF2B5EF4-FFF2-40B4-BE49-F238E27FC236}">
                <a16:creationId xmlns:a16="http://schemas.microsoft.com/office/drawing/2014/main" id="{D8AB8BEA-972D-4860-9566-F377526301B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7200" y="381000"/>
            <a:ext cx="7162800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100" b="1" dirty="0" smtClean="0">
                <a:solidFill>
                  <a:srgbClr val="00269E"/>
                </a:solidFill>
                <a:latin typeface="Arial" panose="020B0604020202020204" pitchFamily="34" charset="0"/>
              </a:rPr>
              <a:t>Near-Term Bus Fleet and Facility Program</a:t>
            </a:r>
            <a:endParaRPr lang="en-US" altLang="en-US" sz="1100" b="1" dirty="0">
              <a:solidFill>
                <a:srgbClr val="00269E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259663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Content Placeholder 2"/>
          <p:cNvSpPr txBox="1">
            <a:spLocks/>
          </p:cNvSpPr>
          <p:nvPr/>
        </p:nvSpPr>
        <p:spPr>
          <a:xfrm>
            <a:off x="462684" y="1514856"/>
            <a:ext cx="8300316" cy="4351338"/>
          </a:xfrm>
          <a:prstGeom prst="rect">
            <a:avLst/>
          </a:prstGeom>
        </p:spPr>
        <p:txBody>
          <a:bodyPr/>
          <a:lstStyle>
            <a:lvl1pPr marL="228600" indent="-228600" algn="l" rtl="0" eaLnBrk="1" fontAlgn="base" hangingPunct="1">
              <a:spcBef>
                <a:spcPct val="100000"/>
              </a:spcBef>
              <a:spcAft>
                <a:spcPct val="0"/>
              </a:spcAft>
              <a:buClr>
                <a:srgbClr val="0033CC"/>
              </a:buClr>
              <a:buChar char="•"/>
              <a:defRPr sz="2400" b="1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576263" indent="-233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2pPr>
            <a:lvl3pPr marL="914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3pPr>
            <a:lvl4pPr marL="1262063" indent="-233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4pPr>
            <a:lvl5pPr marL="16002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r>
              <a:rPr lang="en-US" sz="1600" kern="0" dirty="0" smtClean="0"/>
              <a:t>The Fleet and Facility Plan will be initiated within Office of Chief Engineer</a:t>
            </a:r>
          </a:p>
          <a:p>
            <a:pPr lvl="1"/>
            <a:r>
              <a:rPr lang="en-US" sz="1600" kern="0" dirty="0" smtClean="0"/>
              <a:t>Coordination/Working group: </a:t>
            </a:r>
            <a:r>
              <a:rPr lang="en-US" sz="1600" kern="0" dirty="0"/>
              <a:t>Maintenance, Bus Operations, Capital Delivery, Capital Program Oversight, Engineering, Planning, Environmental, Real Estate</a:t>
            </a:r>
          </a:p>
          <a:p>
            <a:pPr lvl="1"/>
            <a:r>
              <a:rPr lang="en-US" sz="1600" kern="0" dirty="0" smtClean="0"/>
              <a:t>Develop action plan for Capital Program</a:t>
            </a:r>
          </a:p>
          <a:p>
            <a:pPr lvl="2"/>
            <a:r>
              <a:rPr lang="en-US" sz="1600" kern="0" dirty="0" smtClean="0"/>
              <a:t>Garages by Capital Delivery</a:t>
            </a:r>
          </a:p>
          <a:p>
            <a:pPr lvl="2"/>
            <a:r>
              <a:rPr lang="en-US" sz="1600" kern="0" dirty="0" smtClean="0"/>
              <a:t>Fleet by Vehicle Engineering</a:t>
            </a:r>
          </a:p>
          <a:p>
            <a:pPr lvl="1"/>
            <a:r>
              <a:rPr lang="en-US" sz="1600" kern="0" dirty="0" smtClean="0"/>
              <a:t>Informed by the Better Bus Project and the Bus Network Redesign</a:t>
            </a:r>
          </a:p>
          <a:p>
            <a:r>
              <a:rPr lang="en-US" sz="1600" kern="0" dirty="0" smtClean="0"/>
              <a:t>Expect action plan for facilities to be in place in 12 months</a:t>
            </a:r>
          </a:p>
          <a:p>
            <a:r>
              <a:rPr lang="en-US" sz="1600" kern="0" dirty="0" smtClean="0"/>
              <a:t>Bus procurements to begin according to 10/1 FMCB Action</a:t>
            </a:r>
          </a:p>
          <a:p>
            <a:r>
              <a:rPr lang="en-US" sz="1600" kern="0" dirty="0" smtClean="0"/>
              <a:t>Sequence Bus procurements and Facility improvements on a single timeline 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Program Plan</a:t>
            </a:r>
            <a:endParaRPr lang="en-US" sz="2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tangle 9">
            <a:extLst>
              <a:ext uri="{FF2B5EF4-FFF2-40B4-BE49-F238E27FC236}">
                <a16:creationId xmlns:a16="http://schemas.microsoft.com/office/drawing/2014/main" id="{D8AB8BEA-972D-4860-9566-F377526301B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7200" y="381000"/>
            <a:ext cx="7162800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100" b="1" dirty="0" smtClean="0">
                <a:solidFill>
                  <a:srgbClr val="00269E"/>
                </a:solidFill>
                <a:latin typeface="Arial" panose="020B0604020202020204" pitchFamily="34" charset="0"/>
              </a:rPr>
              <a:t>Near-Term Bus Fleet and Facility Program</a:t>
            </a:r>
            <a:endParaRPr lang="en-US" altLang="en-US" sz="1100" b="1" dirty="0">
              <a:solidFill>
                <a:srgbClr val="00269E"/>
              </a:solidFill>
              <a:latin typeface="Arial" panose="020B0604020202020204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351107" y="2615916"/>
            <a:ext cx="1614237" cy="1752600"/>
          </a:xfrm>
          <a:prstGeom prst="rect">
            <a:avLst/>
          </a:prstGeom>
          <a:ln w="25400">
            <a:solidFill>
              <a:schemeClr val="tx1"/>
            </a:solidFill>
          </a:ln>
        </p:spPr>
      </p:pic>
      <p:sp>
        <p:nvSpPr>
          <p:cNvPr id="7" name="TextBox 6"/>
          <p:cNvSpPr txBox="1"/>
          <p:nvPr/>
        </p:nvSpPr>
        <p:spPr>
          <a:xfrm>
            <a:off x="7315201" y="4639270"/>
            <a:ext cx="1650143" cy="923330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b="1" u="sng" dirty="0" smtClean="0">
                <a:latin typeface="+mj-lt"/>
              </a:rPr>
              <a:t>Bus Network Redesign</a:t>
            </a:r>
            <a:endParaRPr lang="en-US" sz="1400" b="1" dirty="0" smtClean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8551251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1"/>
          <p:cNvSpPr txBox="1">
            <a:spLocks/>
          </p:cNvSpPr>
          <p:nvPr/>
        </p:nvSpPr>
        <p:spPr>
          <a:xfrm>
            <a:off x="609600" y="1752600"/>
            <a:ext cx="8229600" cy="4525963"/>
          </a:xfrm>
          <a:prstGeom prst="rect">
            <a:avLst/>
          </a:prstGeom>
        </p:spPr>
        <p:txBody>
          <a:bodyPr/>
          <a:lstStyle>
            <a:lvl1pPr marL="228600" indent="-228600" algn="l" rtl="0" eaLnBrk="0" fontAlgn="base" hangingPunct="0">
              <a:spcBef>
                <a:spcPct val="100000"/>
              </a:spcBef>
              <a:spcAft>
                <a:spcPct val="0"/>
              </a:spcAft>
              <a:buClr>
                <a:srgbClr val="0033CC"/>
              </a:buClr>
              <a:buChar char="•"/>
              <a:defRPr sz="2400" b="1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576263" indent="-23336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2pPr>
            <a:lvl3pPr marL="914400" indent="-22383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3pPr>
            <a:lvl4pPr marL="1262063" indent="-23336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4pPr>
            <a:lvl5pPr marL="1600200" indent="-22383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r>
              <a:rPr lang="en-US" sz="1600" kern="0" dirty="0" smtClean="0"/>
              <a:t>MBTA’s Bus Garage Infrastructure consists of 10 Maintenance Garages, including Everett Heavy Maintenance</a:t>
            </a:r>
          </a:p>
          <a:p>
            <a:r>
              <a:rPr lang="en-US" sz="1600" kern="0" dirty="0" smtClean="0"/>
              <a:t>MBTA Garages have a bus capacity ranging from 28 to 254</a:t>
            </a:r>
          </a:p>
          <a:p>
            <a:r>
              <a:rPr lang="en-US" sz="1600" kern="0" dirty="0" smtClean="0"/>
              <a:t>Current Facilities Status </a:t>
            </a:r>
            <a:endParaRPr lang="en-US" sz="1600" b="0" i="1" kern="0" dirty="0" smtClean="0">
              <a:solidFill>
                <a:srgbClr val="FF0000"/>
              </a:solidFill>
            </a:endParaRPr>
          </a:p>
          <a:p>
            <a:pPr lvl="1"/>
            <a:r>
              <a:rPr lang="en-US" sz="1600" kern="0" dirty="0" smtClean="0"/>
              <a:t>At or beyond capacity </a:t>
            </a:r>
            <a:endParaRPr lang="en-US" sz="1600" i="1" kern="0" dirty="0" smtClean="0">
              <a:solidFill>
                <a:srgbClr val="FF0000"/>
              </a:solidFill>
            </a:endParaRPr>
          </a:p>
          <a:p>
            <a:pPr lvl="1"/>
            <a:r>
              <a:rPr lang="en-US" sz="1600" kern="0" dirty="0" smtClean="0"/>
              <a:t>Average age 54 years </a:t>
            </a:r>
          </a:p>
          <a:p>
            <a:pPr lvl="1"/>
            <a:r>
              <a:rPr lang="en-US" sz="1600" kern="0" dirty="0" smtClean="0"/>
              <a:t>Average TERM Condition Score: 2.75</a:t>
            </a:r>
          </a:p>
          <a:p>
            <a:pPr lvl="1"/>
            <a:r>
              <a:rPr lang="en-US" sz="1600" kern="0" dirty="0" smtClean="0"/>
              <a:t>Some functionally obsolete (e.g. capacity, ceiling heights, door heights)</a:t>
            </a:r>
          </a:p>
          <a:p>
            <a:r>
              <a:rPr lang="en-US" sz="1600" kern="0" dirty="0" smtClean="0"/>
              <a:t>Action: Develop an executable </a:t>
            </a:r>
            <a:r>
              <a:rPr lang="en-US" sz="1600" kern="0" dirty="0" smtClean="0"/>
              <a:t>bus </a:t>
            </a:r>
            <a:r>
              <a:rPr lang="en-US" sz="1600" kern="0" dirty="0" smtClean="0"/>
              <a:t>facility </a:t>
            </a:r>
            <a:r>
              <a:rPr lang="en-US" sz="1600" kern="0" dirty="0" smtClean="0"/>
              <a:t>strategy for future need and technology</a:t>
            </a:r>
            <a:endParaRPr lang="en-US" sz="1600" kern="0" dirty="0" smtClean="0"/>
          </a:p>
          <a:p>
            <a:pPr lvl="2"/>
            <a:r>
              <a:rPr lang="en-US" sz="1600" kern="0" dirty="0" smtClean="0"/>
              <a:t>Locations/Permitting</a:t>
            </a:r>
          </a:p>
          <a:p>
            <a:pPr lvl="2"/>
            <a:r>
              <a:rPr lang="en-US" sz="1600" kern="0" dirty="0" smtClean="0"/>
              <a:t>Bus Propulsion</a:t>
            </a:r>
          </a:p>
          <a:p>
            <a:pPr lvl="2"/>
            <a:r>
              <a:rPr lang="en-US" sz="1600" kern="0" dirty="0" smtClean="0"/>
              <a:t>Battery Charging</a:t>
            </a:r>
            <a:endParaRPr lang="en-US" sz="1600" kern="0" dirty="0"/>
          </a:p>
        </p:txBody>
      </p:sp>
      <p:sp>
        <p:nvSpPr>
          <p:cNvPr id="11" name="Text Placeholder 7"/>
          <p:cNvSpPr txBox="1">
            <a:spLocks/>
          </p:cNvSpPr>
          <p:nvPr/>
        </p:nvSpPr>
        <p:spPr>
          <a:xfrm>
            <a:off x="457200" y="1020762"/>
            <a:ext cx="7315200" cy="350838"/>
          </a:xfrm>
          <a:prstGeom prst="rect">
            <a:avLst/>
          </a:prstGeom>
        </p:spPr>
        <p:txBody>
          <a:bodyPr>
            <a:normAutofit lnSpcReduction="10000"/>
          </a:bodyPr>
          <a:lstStyle/>
          <a:p>
            <a:pPr marL="342900" indent="-342900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lang="en-US" b="1" dirty="0">
                <a:solidFill>
                  <a:srgbClr val="00269E"/>
                </a:solidFill>
                <a:latin typeface="Arial" panose="020B0604020202020204" pitchFamily="34" charset="0"/>
              </a:rPr>
              <a:t>MBTA Bus </a:t>
            </a:r>
            <a:r>
              <a:rPr lang="en-US" b="1" dirty="0" smtClean="0">
                <a:solidFill>
                  <a:srgbClr val="00269E"/>
                </a:solidFill>
                <a:latin typeface="Arial" panose="020B0604020202020204" pitchFamily="34" charset="0"/>
              </a:rPr>
              <a:t>Garage </a:t>
            </a:r>
            <a:r>
              <a:rPr lang="en-US" b="1" dirty="0">
                <a:solidFill>
                  <a:srgbClr val="00269E"/>
                </a:solidFill>
                <a:latin typeface="Arial" panose="020B0604020202020204" pitchFamily="34" charset="0"/>
              </a:rPr>
              <a:t>Overview</a:t>
            </a:r>
          </a:p>
          <a:p>
            <a:pPr marL="342900" indent="-342900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endParaRPr lang="en-US" sz="3200" b="1" dirty="0">
              <a:latin typeface="Calibri" pitchFamily="34" charset="0"/>
              <a:cs typeface="+mn-cs"/>
            </a:endParaRPr>
          </a:p>
          <a:p>
            <a:pPr marL="342900" indent="-342900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endParaRPr lang="en-US" sz="3200" b="1" dirty="0">
              <a:latin typeface="+mn-lt"/>
              <a:cs typeface="+mn-cs"/>
            </a:endParaRP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4114800" y="4648200"/>
            <a:ext cx="4343400" cy="1579184"/>
          </a:xfrm>
        </p:spPr>
        <p:txBody>
          <a:bodyPr/>
          <a:lstStyle/>
          <a:p>
            <a:pPr marL="0" indent="0">
              <a:buNone/>
            </a:pPr>
            <a:endParaRPr lang="en-US" sz="1600" dirty="0"/>
          </a:p>
          <a:p>
            <a:pPr lvl="2"/>
            <a:r>
              <a:rPr lang="en-US" sz="1600" dirty="0" smtClean="0"/>
              <a:t>Electric Utility</a:t>
            </a:r>
          </a:p>
          <a:p>
            <a:pPr lvl="2"/>
            <a:r>
              <a:rPr lang="en-US" sz="1600" dirty="0" smtClean="0"/>
              <a:t>Bus Storage</a:t>
            </a:r>
          </a:p>
          <a:p>
            <a:pPr lvl="2"/>
            <a:r>
              <a:rPr lang="en-US" sz="1600" dirty="0" smtClean="0"/>
              <a:t>etc.</a:t>
            </a:r>
            <a:endParaRPr lang="en-US" sz="1600" dirty="0"/>
          </a:p>
        </p:txBody>
      </p:sp>
      <p:sp>
        <p:nvSpPr>
          <p:cNvPr id="5" name="Rectangle 9">
            <a:extLst>
              <a:ext uri="{FF2B5EF4-FFF2-40B4-BE49-F238E27FC236}">
                <a16:creationId xmlns:a16="http://schemas.microsoft.com/office/drawing/2014/main" id="{D8AB8BEA-972D-4860-9566-F377526301B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7200" y="381000"/>
            <a:ext cx="7162800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100" b="1" dirty="0" smtClean="0">
                <a:solidFill>
                  <a:srgbClr val="00269E"/>
                </a:solidFill>
                <a:latin typeface="Arial" panose="020B0604020202020204" pitchFamily="34" charset="0"/>
              </a:rPr>
              <a:t>Near-Term Bus Fleet and Facility Program</a:t>
            </a:r>
            <a:endParaRPr lang="en-US" altLang="en-US" sz="1100" b="1" dirty="0">
              <a:solidFill>
                <a:srgbClr val="00269E"/>
              </a:solidFill>
              <a:latin typeface="Arial" panose="020B0604020202020204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rot="5400000">
            <a:off x="6471195" y="1594395"/>
            <a:ext cx="1905002" cy="2831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55438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7"/>
          <p:cNvSpPr txBox="1">
            <a:spLocks/>
          </p:cNvSpPr>
          <p:nvPr/>
        </p:nvSpPr>
        <p:spPr>
          <a:xfrm>
            <a:off x="457200" y="1020762"/>
            <a:ext cx="7315200" cy="350838"/>
          </a:xfrm>
          <a:prstGeom prst="rect">
            <a:avLst/>
          </a:prstGeom>
        </p:spPr>
        <p:txBody>
          <a:bodyPr>
            <a:normAutofit lnSpcReduction="10000"/>
          </a:bodyPr>
          <a:lstStyle/>
          <a:p>
            <a:pPr marL="342900" indent="-342900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lang="en-US" b="1" dirty="0">
                <a:solidFill>
                  <a:srgbClr val="00269E"/>
                </a:solidFill>
                <a:latin typeface="Arial" panose="020B0604020202020204" pitchFamily="34" charset="0"/>
              </a:rPr>
              <a:t>MBTA Bus Fleet Overview</a:t>
            </a:r>
          </a:p>
          <a:p>
            <a:pPr marL="342900" indent="-342900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endParaRPr lang="en-US" sz="3200" b="1" dirty="0">
              <a:latin typeface="Calibri" pitchFamily="34" charset="0"/>
              <a:cs typeface="+mn-cs"/>
            </a:endParaRPr>
          </a:p>
          <a:p>
            <a:pPr marL="342900" indent="-342900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endParaRPr lang="en-US" sz="3200" b="1" dirty="0">
              <a:latin typeface="+mn-lt"/>
              <a:cs typeface="+mn-cs"/>
            </a:endParaRP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457200" y="1371600"/>
            <a:ext cx="8229600" cy="4754563"/>
          </a:xfrm>
        </p:spPr>
        <p:txBody>
          <a:bodyPr/>
          <a:lstStyle/>
          <a:p>
            <a:r>
              <a:rPr lang="en-US" sz="1600" dirty="0">
                <a:cs typeface="Arial" panose="020B0604020202020204" pitchFamily="34" charset="0"/>
              </a:rPr>
              <a:t>MBTA’s bus fleet consists of 40-foot and 60-foot buses using multiple forms of propulsion including CNG, diesel, diesel-electric hybrid, and electric (overhead catenary lines)</a:t>
            </a:r>
          </a:p>
          <a:p>
            <a:r>
              <a:rPr lang="en-US" sz="1600" dirty="0">
                <a:cs typeface="Arial" panose="020B0604020202020204" pitchFamily="34" charset="0"/>
              </a:rPr>
              <a:t>Current fleet size – 1024 buses</a:t>
            </a:r>
          </a:p>
          <a:p>
            <a:r>
              <a:rPr lang="en-US" sz="1600" dirty="0">
                <a:cs typeface="Arial" panose="020B0604020202020204" pitchFamily="34" charset="0"/>
              </a:rPr>
              <a:t>Average fleet age – </a:t>
            </a:r>
            <a:r>
              <a:rPr lang="en-US" sz="1600" dirty="0" smtClean="0">
                <a:cs typeface="Arial" panose="020B0604020202020204" pitchFamily="34" charset="0"/>
              </a:rPr>
              <a:t>7.3 </a:t>
            </a:r>
            <a:r>
              <a:rPr lang="en-US" sz="1600" dirty="0">
                <a:cs typeface="Arial" panose="020B0604020202020204" pitchFamily="34" charset="0"/>
              </a:rPr>
              <a:t>years</a:t>
            </a:r>
          </a:p>
          <a:p>
            <a:pPr marL="228600" lvl="1" indent="-228600">
              <a:spcBef>
                <a:spcPct val="100000"/>
              </a:spcBef>
              <a:buChar char="•"/>
            </a:pPr>
            <a:r>
              <a:rPr lang="en-US" sz="1600" b="1" dirty="0">
                <a:ea typeface="+mn-ea"/>
                <a:cs typeface="Arial" panose="020B0604020202020204" pitchFamily="34" charset="0"/>
              </a:rPr>
              <a:t>MBTA bus service life is typically 12-15 years </a:t>
            </a:r>
          </a:p>
          <a:p>
            <a:pPr marL="914400" lvl="3" indent="-228600">
              <a:spcBef>
                <a:spcPts val="600"/>
              </a:spcBef>
            </a:pPr>
            <a:r>
              <a:rPr lang="en-US" sz="1600" dirty="0">
                <a:ea typeface="+mn-ea"/>
                <a:cs typeface="Arial" panose="020B0604020202020204" pitchFamily="34" charset="0"/>
              </a:rPr>
              <a:t>FTA requires minimum of 12-year service life</a:t>
            </a:r>
          </a:p>
          <a:p>
            <a:pPr marL="228600" lvl="1" indent="-228600">
              <a:spcBef>
                <a:spcPct val="100000"/>
              </a:spcBef>
              <a:buChar char="•"/>
            </a:pPr>
            <a:r>
              <a:rPr lang="en-US" sz="1600" b="1" dirty="0">
                <a:ea typeface="+mn-ea"/>
                <a:cs typeface="Arial" panose="020B0604020202020204" pitchFamily="34" charset="0"/>
              </a:rPr>
              <a:t>MBTA typically conducts fleet overhauls after 6+ years</a:t>
            </a:r>
          </a:p>
          <a:p>
            <a:pPr marL="914400" lvl="3" indent="-228600">
              <a:spcBef>
                <a:spcPts val="600"/>
              </a:spcBef>
            </a:pPr>
            <a:r>
              <a:rPr lang="en-US" sz="1600" dirty="0">
                <a:ea typeface="+mn-ea"/>
                <a:cs typeface="Arial" panose="020B0604020202020204" pitchFamily="34" charset="0"/>
              </a:rPr>
              <a:t>Evaluation of condition and required overhaul scope to improve vehicle reliability and passenger experience </a:t>
            </a:r>
            <a:endParaRPr lang="en-US" sz="1600" dirty="0" smtClean="0">
              <a:ea typeface="+mn-ea"/>
              <a:cs typeface="Arial" panose="020B0604020202020204" pitchFamily="34" charset="0"/>
            </a:endParaRPr>
          </a:p>
          <a:p>
            <a:pPr marL="228600" lvl="1" indent="-228600">
              <a:spcBef>
                <a:spcPct val="100000"/>
              </a:spcBef>
              <a:buChar char="•"/>
            </a:pPr>
            <a:r>
              <a:rPr lang="en-US" sz="1600" b="1" dirty="0" smtClean="0">
                <a:cs typeface="Arial" panose="020B0604020202020204" pitchFamily="34" charset="0"/>
              </a:rPr>
              <a:t>Action: </a:t>
            </a:r>
            <a:r>
              <a:rPr lang="en-US" sz="1600" b="1" dirty="0" smtClean="0"/>
              <a:t>Develop </a:t>
            </a:r>
            <a:r>
              <a:rPr lang="en-US" sz="1600" b="1" dirty="0"/>
              <a:t>an executable </a:t>
            </a:r>
            <a:r>
              <a:rPr lang="en-US" sz="1600" b="1" dirty="0" smtClean="0">
                <a:cs typeface="Arial" panose="020B0604020202020204" pitchFamily="34" charset="0"/>
              </a:rPr>
              <a:t>10+ year fleet procurement  plan</a:t>
            </a:r>
            <a:endParaRPr lang="en-US" sz="1600" b="1" dirty="0">
              <a:cs typeface="Arial" panose="020B0604020202020204" pitchFamily="34" charset="0"/>
            </a:endParaRPr>
          </a:p>
          <a:p>
            <a:pPr marL="914400" lvl="3" indent="-228600">
              <a:spcBef>
                <a:spcPts val="600"/>
              </a:spcBef>
            </a:pPr>
            <a:r>
              <a:rPr lang="en-US" sz="1600" dirty="0" smtClean="0">
                <a:cs typeface="Arial" panose="020B0604020202020204" pitchFamily="34" charset="0"/>
              </a:rPr>
              <a:t>Fleet expansion </a:t>
            </a:r>
          </a:p>
          <a:p>
            <a:pPr marL="914400" lvl="3" indent="-228600">
              <a:spcBef>
                <a:spcPts val="600"/>
              </a:spcBef>
            </a:pPr>
            <a:r>
              <a:rPr lang="en-US" sz="1600" dirty="0" smtClean="0">
                <a:cs typeface="Arial" panose="020B0604020202020204" pitchFamily="34" charset="0"/>
              </a:rPr>
              <a:t>Propulsion technology advancement </a:t>
            </a:r>
            <a:endParaRPr lang="en-US" sz="1600" dirty="0">
              <a:cs typeface="Arial" panose="020B0604020202020204" pitchFamily="34" charset="0"/>
            </a:endParaRPr>
          </a:p>
          <a:p>
            <a:pPr marL="914400" lvl="3" indent="-228600">
              <a:spcBef>
                <a:spcPts val="600"/>
              </a:spcBef>
            </a:pPr>
            <a:endParaRPr lang="en-US" sz="1600" dirty="0"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Rectangle 9">
            <a:extLst>
              <a:ext uri="{FF2B5EF4-FFF2-40B4-BE49-F238E27FC236}">
                <a16:creationId xmlns:a16="http://schemas.microsoft.com/office/drawing/2014/main" id="{D8AB8BEA-972D-4860-9566-F377526301B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7200" y="381000"/>
            <a:ext cx="7162800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100" b="1" dirty="0" smtClean="0">
                <a:solidFill>
                  <a:srgbClr val="00269E"/>
                </a:solidFill>
                <a:latin typeface="Arial" panose="020B0604020202020204" pitchFamily="34" charset="0"/>
              </a:rPr>
              <a:t>Near-Term Bus Fleet and Facility Program</a:t>
            </a:r>
            <a:endParaRPr lang="en-US" altLang="en-US" sz="1100" b="1" dirty="0">
              <a:solidFill>
                <a:srgbClr val="00269E"/>
              </a:solidFill>
              <a:latin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A36A4B3-BEAE-4EAA-ACB9-901BBD03C74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558032" y="2057400"/>
            <a:ext cx="3204968" cy="1881461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</p:pic>
    </p:spTree>
    <p:extLst>
      <p:ext uri="{BB962C8B-B14F-4D97-AF65-F5344CB8AC3E}">
        <p14:creationId xmlns:p14="http://schemas.microsoft.com/office/powerpoint/2010/main" val="15596634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99DA7A-4399-4448-ADBE-FBE584D792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1010556"/>
            <a:ext cx="8229600" cy="556998"/>
          </a:xfrm>
        </p:spPr>
        <p:txBody>
          <a:bodyPr/>
          <a:lstStyle/>
          <a:p>
            <a:r>
              <a:rPr lang="en-US" sz="1800" dirty="0">
                <a:solidFill>
                  <a:srgbClr val="00269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cent and Ongoing Bus Program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A3E2DA1-F375-4638-8A4E-3623416DF37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000" y="1341437"/>
            <a:ext cx="8458200" cy="4525963"/>
          </a:xfrm>
        </p:spPr>
        <p:txBody>
          <a:bodyPr/>
          <a:lstStyle/>
          <a:p>
            <a:pPr marL="0" indent="0">
              <a:buNone/>
            </a:pPr>
            <a:r>
              <a:rPr lang="en-US" sz="1600" dirty="0">
                <a:cs typeface="Arial" panose="020B0604020202020204" pitchFamily="34" charset="0"/>
              </a:rPr>
              <a:t>New Bus Procurements:</a:t>
            </a:r>
          </a:p>
          <a:p>
            <a:pPr lvl="1"/>
            <a:r>
              <a:rPr lang="en-US" sz="1600" dirty="0">
                <a:cs typeface="Arial" panose="020B0604020202020204" pitchFamily="34" charset="0"/>
              </a:rPr>
              <a:t>325 + 6 New Flyer 40-foot CNG and Hybrid buses – last bus delivered July 2017</a:t>
            </a:r>
            <a:endParaRPr lang="en-US" sz="1600" dirty="0">
              <a:highlight>
                <a:srgbClr val="FFFF00"/>
              </a:highlight>
              <a:cs typeface="Arial" panose="020B0604020202020204" pitchFamily="34" charset="0"/>
            </a:endParaRPr>
          </a:p>
          <a:p>
            <a:pPr lvl="1"/>
            <a:r>
              <a:rPr lang="en-US" sz="1600" dirty="0">
                <a:cs typeface="Arial" panose="020B0604020202020204" pitchFamily="34" charset="0"/>
              </a:rPr>
              <a:t>44 + 1 New Flyer 60-foot Hybrid buses – last bus delivered September 2018</a:t>
            </a:r>
          </a:p>
          <a:p>
            <a:pPr lvl="1"/>
            <a:r>
              <a:rPr lang="en-US" sz="1600" dirty="0">
                <a:cs typeface="Arial" panose="020B0604020202020204" pitchFamily="34" charset="0"/>
              </a:rPr>
              <a:t>5 New Flyer 60-foot battery electric buses (Low-No grant) – expected delivery Spring 2019</a:t>
            </a:r>
          </a:p>
          <a:p>
            <a:pPr marL="0" indent="0">
              <a:buNone/>
            </a:pPr>
            <a:endParaRPr lang="en-US" sz="1600" dirty="0" smtClean="0"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US" sz="1600" dirty="0"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US" sz="1600" dirty="0">
              <a:cs typeface="Arial" panose="020B0604020202020204" pitchFamily="34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600" dirty="0">
                <a:cs typeface="Arial" panose="020B0604020202020204" pitchFamily="34" charset="0"/>
              </a:rPr>
              <a:t>Bus Overhaul Programs:</a:t>
            </a:r>
          </a:p>
          <a:p>
            <a:pPr lvl="1"/>
            <a:r>
              <a:rPr lang="en-US" sz="1600" dirty="0">
                <a:cs typeface="Arial" panose="020B0604020202020204" pitchFamily="34" charset="0"/>
              </a:rPr>
              <a:t>32 Neoplan 60-foot DMA overhaul program – last bus delivered August 2018</a:t>
            </a:r>
          </a:p>
          <a:p>
            <a:pPr lvl="1"/>
            <a:r>
              <a:rPr lang="en-US" sz="1600" dirty="0">
                <a:cs typeface="Arial" panose="020B0604020202020204" pitchFamily="34" charset="0"/>
              </a:rPr>
              <a:t>155 New Flyer 40-foot ECD buses (option fleet) – overhaul underway (completion 2019)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D39B5D9-AB26-4CD6-BE46-D42FB293BC33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38199" y="2570537"/>
            <a:ext cx="2011680" cy="1315661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A34E4D8E-05FF-4470-A8D8-1A45B1BFB94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052922" y="4851175"/>
            <a:ext cx="2031398" cy="1347106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AE97E93B-FC23-4C6C-AB34-892715D8271D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94422" y="2570538"/>
            <a:ext cx="2011680" cy="1315661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1ED7DF34-0AE7-469E-BDB2-DA93BADD56D1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657600" y="2570539"/>
            <a:ext cx="2011680" cy="1315661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8C15671-9AC0-4CCC-B97A-CD647B131174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8720" y="4851175"/>
            <a:ext cx="2011680" cy="1347105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D8AB8BEA-972D-4860-9566-F377526301B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7200" y="381000"/>
            <a:ext cx="7162800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100" b="1" dirty="0" smtClean="0">
                <a:solidFill>
                  <a:srgbClr val="00269E"/>
                </a:solidFill>
                <a:latin typeface="Arial" panose="020B0604020202020204" pitchFamily="34" charset="0"/>
              </a:rPr>
              <a:t>Near-Term Bus Fleet and Facility Program</a:t>
            </a:r>
            <a:endParaRPr lang="en-US" altLang="en-US" sz="1100" b="1" dirty="0">
              <a:solidFill>
                <a:srgbClr val="00269E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430180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7"/>
          <p:cNvSpPr txBox="1">
            <a:spLocks/>
          </p:cNvSpPr>
          <p:nvPr/>
        </p:nvSpPr>
        <p:spPr>
          <a:xfrm>
            <a:off x="457200" y="1020762"/>
            <a:ext cx="7315200" cy="350838"/>
          </a:xfrm>
          <a:prstGeom prst="rect">
            <a:avLst/>
          </a:prstGeom>
        </p:spPr>
        <p:txBody>
          <a:bodyPr>
            <a:normAutofit fontScale="92500" lnSpcReduction="10000"/>
          </a:bodyPr>
          <a:lstStyle/>
          <a:p>
            <a:pPr marL="342900" indent="-342900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lang="en-US" sz="1900" b="1" dirty="0" smtClean="0">
                <a:solidFill>
                  <a:srgbClr val="00269E"/>
                </a:solidFill>
                <a:latin typeface="Arial" panose="020B0604020202020204" pitchFamily="34" charset="0"/>
              </a:rPr>
              <a:t>Bus Fuel Economy </a:t>
            </a:r>
            <a:r>
              <a:rPr lang="en-US" sz="1900" b="1" dirty="0" smtClean="0">
                <a:solidFill>
                  <a:srgbClr val="00269E"/>
                </a:solidFill>
                <a:latin typeface="Arial" panose="020B0604020202020204" pitchFamily="34" charset="0"/>
              </a:rPr>
              <a:t>Advancements / Sustainability</a:t>
            </a:r>
            <a:endParaRPr lang="en-US" sz="1900" b="1" dirty="0">
              <a:solidFill>
                <a:srgbClr val="00269E"/>
              </a:solidFill>
              <a:latin typeface="Arial" panose="020B0604020202020204" pitchFamily="34" charset="0"/>
            </a:endParaRPr>
          </a:p>
          <a:p>
            <a:pPr marL="342900" indent="-342900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endParaRPr lang="en-US" sz="3200" b="1" dirty="0">
              <a:latin typeface="Calibri" pitchFamily="34" charset="0"/>
              <a:cs typeface="+mn-cs"/>
            </a:endParaRPr>
          </a:p>
          <a:p>
            <a:pPr marL="342900" indent="-342900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endParaRPr lang="en-US" sz="3200" b="1" dirty="0">
              <a:latin typeface="+mn-lt"/>
              <a:cs typeface="+mn-cs"/>
            </a:endParaRP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381000" y="1447801"/>
            <a:ext cx="4114800" cy="1143000"/>
          </a:xfrm>
        </p:spPr>
        <p:txBody>
          <a:bodyPr/>
          <a:lstStyle/>
          <a:p>
            <a:r>
              <a:rPr lang="en-US" sz="1400" dirty="0" smtClean="0"/>
              <a:t>New </a:t>
            </a:r>
            <a:r>
              <a:rPr lang="en-US" sz="1400" dirty="0"/>
              <a:t>Flyer Diesel: </a:t>
            </a:r>
          </a:p>
          <a:p>
            <a:pPr lvl="1"/>
            <a:r>
              <a:rPr lang="en-US" sz="1400" dirty="0"/>
              <a:t>40-foot Low Floor Bus – </a:t>
            </a:r>
            <a:r>
              <a:rPr lang="en-US" sz="1400" dirty="0" smtClean="0"/>
              <a:t>3.24 avg. mpg</a:t>
            </a:r>
            <a:endParaRPr lang="en-US" sz="1400" dirty="0"/>
          </a:p>
          <a:p>
            <a:pPr lvl="1"/>
            <a:r>
              <a:rPr lang="en-US" sz="1400" dirty="0"/>
              <a:t>60-foot Low Floor Bus </a:t>
            </a:r>
            <a:r>
              <a:rPr lang="en-US" sz="1400" dirty="0" smtClean="0"/>
              <a:t>– 3.19 avg. mpg</a:t>
            </a:r>
            <a:endParaRPr lang="en-US" sz="1400" dirty="0"/>
          </a:p>
        </p:txBody>
      </p:sp>
      <p:sp>
        <p:nvSpPr>
          <p:cNvPr id="5" name="Rectangle 9">
            <a:extLst>
              <a:ext uri="{FF2B5EF4-FFF2-40B4-BE49-F238E27FC236}">
                <a16:creationId xmlns:a16="http://schemas.microsoft.com/office/drawing/2014/main" id="{D8AB8BEA-972D-4860-9566-F377526301B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7200" y="381000"/>
            <a:ext cx="7162800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100" b="1" dirty="0" smtClean="0">
                <a:solidFill>
                  <a:srgbClr val="00269E"/>
                </a:solidFill>
                <a:latin typeface="Arial" panose="020B0604020202020204" pitchFamily="34" charset="0"/>
              </a:rPr>
              <a:t>Near-Term Bus Fleet and Facility Program</a:t>
            </a:r>
            <a:endParaRPr lang="en-US" altLang="en-US" sz="1100" b="1" dirty="0">
              <a:solidFill>
                <a:srgbClr val="00269E"/>
              </a:solidFill>
              <a:latin typeface="Arial" panose="020B0604020202020204" pitchFamily="34" charset="0"/>
            </a:endParaRPr>
          </a:p>
        </p:txBody>
      </p:sp>
      <p:sp>
        <p:nvSpPr>
          <p:cNvPr id="6" name="Content Placeholder 1"/>
          <p:cNvSpPr txBox="1">
            <a:spLocks/>
          </p:cNvSpPr>
          <p:nvPr/>
        </p:nvSpPr>
        <p:spPr>
          <a:xfrm>
            <a:off x="4495800" y="1447801"/>
            <a:ext cx="4267200" cy="1295400"/>
          </a:xfrm>
          <a:prstGeom prst="rect">
            <a:avLst/>
          </a:prstGeom>
        </p:spPr>
        <p:txBody>
          <a:bodyPr/>
          <a:lstStyle>
            <a:lvl1pPr marL="228600" indent="-228600" algn="l" rtl="0" eaLnBrk="0" fontAlgn="base" hangingPunct="0">
              <a:spcBef>
                <a:spcPct val="100000"/>
              </a:spcBef>
              <a:spcAft>
                <a:spcPct val="0"/>
              </a:spcAft>
              <a:buClr>
                <a:srgbClr val="0033CC"/>
              </a:buClr>
              <a:buChar char="•"/>
              <a:defRPr sz="2400" b="1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576263" indent="-23336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2pPr>
            <a:lvl3pPr marL="914400" indent="-22383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3pPr>
            <a:lvl4pPr marL="1262063" indent="-23336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4pPr>
            <a:lvl5pPr marL="1600200" indent="-22383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r>
              <a:rPr lang="en-US" sz="1400" kern="0" dirty="0" smtClean="0"/>
              <a:t>New Flyer Hybrid: </a:t>
            </a:r>
          </a:p>
          <a:p>
            <a:pPr lvl="1"/>
            <a:r>
              <a:rPr lang="en-US" sz="1400" kern="0" dirty="0" smtClean="0"/>
              <a:t>40-foot </a:t>
            </a:r>
            <a:r>
              <a:rPr lang="en-US" sz="1400" kern="0" dirty="0" err="1" smtClean="0"/>
              <a:t>Xcelsior</a:t>
            </a:r>
            <a:r>
              <a:rPr lang="en-US" sz="1400" kern="0" dirty="0" smtClean="0"/>
              <a:t> Bus – 5.34 avg. mpg</a:t>
            </a:r>
          </a:p>
          <a:p>
            <a:pPr lvl="1"/>
            <a:r>
              <a:rPr lang="en-US" sz="1400" kern="0" dirty="0" smtClean="0"/>
              <a:t>60-foot </a:t>
            </a:r>
            <a:r>
              <a:rPr lang="en-US" sz="1400" kern="0" dirty="0" err="1" smtClean="0"/>
              <a:t>Xcelsior</a:t>
            </a:r>
            <a:r>
              <a:rPr lang="en-US" sz="1400" kern="0" dirty="0" smtClean="0"/>
              <a:t> Bus – 4.09 avg. mpg</a:t>
            </a:r>
          </a:p>
        </p:txBody>
      </p:sp>
      <p:sp>
        <p:nvSpPr>
          <p:cNvPr id="7" name="Content Placeholder 1"/>
          <p:cNvSpPr txBox="1">
            <a:spLocks/>
          </p:cNvSpPr>
          <p:nvPr/>
        </p:nvSpPr>
        <p:spPr>
          <a:xfrm>
            <a:off x="381000" y="2362201"/>
            <a:ext cx="8458200" cy="3886200"/>
          </a:xfrm>
          <a:prstGeom prst="rect">
            <a:avLst/>
          </a:prstGeom>
        </p:spPr>
        <p:txBody>
          <a:bodyPr/>
          <a:lstStyle>
            <a:lvl1pPr marL="228600" indent="-228600" algn="l" rtl="0" eaLnBrk="0" fontAlgn="base" hangingPunct="0">
              <a:spcBef>
                <a:spcPct val="100000"/>
              </a:spcBef>
              <a:spcAft>
                <a:spcPct val="0"/>
              </a:spcAft>
              <a:buClr>
                <a:srgbClr val="0033CC"/>
              </a:buClr>
              <a:buChar char="•"/>
              <a:defRPr sz="2400" b="1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576263" indent="-23336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2pPr>
            <a:lvl3pPr marL="914400" indent="-22383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3pPr>
            <a:lvl4pPr marL="1262063" indent="-23336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4pPr>
            <a:lvl5pPr marL="1600200" indent="-22383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r>
              <a:rPr lang="en-US" sz="1400" dirty="0"/>
              <a:t>New Flyer Hybrid 60-foot extended range bus (45</a:t>
            </a:r>
            <a:r>
              <a:rPr lang="en-US" sz="1400" baseline="30000" dirty="0"/>
              <a:t>th</a:t>
            </a:r>
            <a:r>
              <a:rPr lang="en-US" sz="1400" dirty="0"/>
              <a:t> </a:t>
            </a:r>
            <a:r>
              <a:rPr lang="en-US" sz="1400" dirty="0" smtClean="0"/>
              <a:t>Bus)</a:t>
            </a:r>
            <a:endParaRPr lang="en-US" sz="1400" dirty="0"/>
          </a:p>
          <a:p>
            <a:pPr lvl="1"/>
            <a:r>
              <a:rPr lang="en-US" sz="1400" dirty="0"/>
              <a:t>Configured with 120% more battery storage capacity with start/stop functionality and extended ranges with engine-off, zero-emissions operation.</a:t>
            </a:r>
          </a:p>
          <a:p>
            <a:pPr lvl="1"/>
            <a:r>
              <a:rPr lang="en-US" sz="1400" dirty="0"/>
              <a:t>New-improved battery chemistry supplying greater capacity and storage.</a:t>
            </a:r>
          </a:p>
          <a:p>
            <a:pPr lvl="1"/>
            <a:r>
              <a:rPr lang="en-US" sz="1400" dirty="0"/>
              <a:t>Capability to complete 2.2-mile Silver Line </a:t>
            </a:r>
            <a:r>
              <a:rPr lang="en-US" sz="1400" dirty="0" err="1"/>
              <a:t>Transitway</a:t>
            </a:r>
            <a:r>
              <a:rPr lang="en-US" sz="1400" dirty="0"/>
              <a:t> Tunnel in engine-off, zero-emissions EV mode. </a:t>
            </a:r>
          </a:p>
          <a:p>
            <a:pPr lvl="1"/>
            <a:r>
              <a:rPr lang="en-US" sz="1400" dirty="0"/>
              <a:t>Planned testing of this advanced hybrid bus will determine overall benefits and fuel economy.</a:t>
            </a:r>
          </a:p>
          <a:p>
            <a:r>
              <a:rPr lang="en-US" sz="1400" kern="0" dirty="0" smtClean="0"/>
              <a:t>194 New Flyer Advanced Hybrid 40-foot Low Floor Option Bus: </a:t>
            </a:r>
          </a:p>
          <a:p>
            <a:pPr lvl="1"/>
            <a:r>
              <a:rPr lang="en-US" sz="1400" dirty="0" smtClean="0"/>
              <a:t>Configuration will increase battery capacity by </a:t>
            </a:r>
            <a:r>
              <a:rPr lang="en-US" sz="1400" dirty="0"/>
              <a:t>166% </a:t>
            </a:r>
            <a:r>
              <a:rPr lang="en-US" sz="1400" dirty="0" smtClean="0"/>
              <a:t>with start/stop </a:t>
            </a:r>
            <a:r>
              <a:rPr lang="en-US" sz="1400" dirty="0"/>
              <a:t>functionality and engine-off, zero-emissions operation</a:t>
            </a:r>
          </a:p>
          <a:p>
            <a:pPr lvl="1"/>
            <a:r>
              <a:rPr lang="en-US" sz="1400" dirty="0" smtClean="0"/>
              <a:t>Expected to reduce fleet </a:t>
            </a:r>
            <a:r>
              <a:rPr lang="en-US" sz="1400" dirty="0"/>
              <a:t>fuel consumption and emissions </a:t>
            </a:r>
            <a:r>
              <a:rPr lang="en-US" sz="1400" i="1" dirty="0"/>
              <a:t>as compared to traditional diesel fleet</a:t>
            </a:r>
            <a:r>
              <a:rPr lang="en-US" sz="1400" dirty="0"/>
              <a:t>: </a:t>
            </a:r>
          </a:p>
          <a:p>
            <a:pPr lvl="2"/>
            <a:r>
              <a:rPr lang="en-US" sz="1400" dirty="0"/>
              <a:t>2.8 million gallons of fuel saved</a:t>
            </a:r>
          </a:p>
          <a:p>
            <a:pPr lvl="2"/>
            <a:r>
              <a:rPr lang="en-US" sz="1400" dirty="0"/>
              <a:t>Reduced greenhouse gas (GHG) emissions by 41,000 tons</a:t>
            </a:r>
          </a:p>
          <a:p>
            <a:pPr lvl="2"/>
            <a:r>
              <a:rPr lang="en-US" sz="1400" dirty="0"/>
              <a:t>Reduced nitrogen oxide (NOx) emissions by 28,000 tons </a:t>
            </a:r>
          </a:p>
          <a:p>
            <a:pPr lvl="2"/>
            <a:r>
              <a:rPr lang="en-US" sz="1400" dirty="0"/>
              <a:t>Reduced fleet idle time by 900,000 </a:t>
            </a:r>
            <a:r>
              <a:rPr lang="en-US" sz="1400" dirty="0" smtClean="0"/>
              <a:t>hours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9963927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7"/>
          <p:cNvSpPr txBox="1">
            <a:spLocks/>
          </p:cNvSpPr>
          <p:nvPr/>
        </p:nvSpPr>
        <p:spPr>
          <a:xfrm>
            <a:off x="457200" y="1020762"/>
            <a:ext cx="7315200" cy="350838"/>
          </a:xfrm>
          <a:prstGeom prst="rect">
            <a:avLst/>
          </a:prstGeom>
        </p:spPr>
        <p:txBody>
          <a:bodyPr>
            <a:normAutofit fontScale="92500" lnSpcReduction="10000"/>
          </a:bodyPr>
          <a:lstStyle/>
          <a:p>
            <a:pPr marL="342900" indent="-342900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lang="en-US" sz="1900" b="1" dirty="0">
                <a:solidFill>
                  <a:srgbClr val="00269E"/>
                </a:solidFill>
                <a:latin typeface="Arial" panose="020B0604020202020204" pitchFamily="34" charset="0"/>
              </a:rPr>
              <a:t>Planned New Procurements &amp; Overhaul Programs</a:t>
            </a:r>
          </a:p>
          <a:p>
            <a:pPr marL="342900" indent="-342900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endParaRPr lang="en-US" sz="3200" b="1" dirty="0">
              <a:latin typeface="Calibri" pitchFamily="34" charset="0"/>
              <a:cs typeface="+mn-cs"/>
            </a:endParaRPr>
          </a:p>
          <a:p>
            <a:pPr marL="342900" indent="-342900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endParaRPr lang="en-US" sz="3200" b="1" dirty="0">
              <a:latin typeface="+mn-lt"/>
              <a:cs typeface="+mn-cs"/>
            </a:endParaRP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381000" y="1447800"/>
            <a:ext cx="8458200" cy="4525963"/>
          </a:xfrm>
        </p:spPr>
        <p:txBody>
          <a:bodyPr/>
          <a:lstStyle/>
          <a:p>
            <a:pPr marL="0" indent="0">
              <a:buNone/>
            </a:pPr>
            <a:r>
              <a:rPr lang="en-US" sz="1800" dirty="0" smtClean="0">
                <a:cs typeface="Arial" panose="020B0604020202020204" pitchFamily="34" charset="0"/>
              </a:rPr>
              <a:t>Next </a:t>
            </a:r>
            <a:r>
              <a:rPr lang="en-US" sz="1800" dirty="0">
                <a:cs typeface="Arial" panose="020B0604020202020204" pitchFamily="34" charset="0"/>
              </a:rPr>
              <a:t>bus fleet replacements include:</a:t>
            </a:r>
          </a:p>
          <a:p>
            <a:pPr lvl="1"/>
            <a:r>
              <a:rPr lang="en-US" sz="1400" dirty="0">
                <a:cs typeface="Arial" panose="020B0604020202020204" pitchFamily="34" charset="0"/>
              </a:rPr>
              <a:t>193 Neoplan 40-foot Emission Control Diesel buses (ECD</a:t>
            </a:r>
            <a:r>
              <a:rPr lang="en-US" sz="1400" dirty="0" smtClean="0">
                <a:cs typeface="Arial" panose="020B0604020202020204" pitchFamily="34" charset="0"/>
              </a:rPr>
              <a:t>)	[2003 – 2004]</a:t>
            </a:r>
            <a:endParaRPr lang="en-US" sz="1400" dirty="0">
              <a:cs typeface="Arial" panose="020B0604020202020204" pitchFamily="34" charset="0"/>
            </a:endParaRPr>
          </a:p>
          <a:p>
            <a:pPr lvl="1"/>
            <a:r>
              <a:rPr lang="en-US" sz="1400" dirty="0">
                <a:cs typeface="Arial" panose="020B0604020202020204" pitchFamily="34" charset="0"/>
              </a:rPr>
              <a:t>32 Neoplan 60-foot Dual Mode Articulated buses (DMA</a:t>
            </a:r>
            <a:r>
              <a:rPr lang="en-US" sz="1400" dirty="0" smtClean="0">
                <a:cs typeface="Arial" panose="020B0604020202020204" pitchFamily="34" charset="0"/>
              </a:rPr>
              <a:t>)	[2004 – 2006]</a:t>
            </a:r>
            <a:endParaRPr lang="en-US" sz="1400" dirty="0">
              <a:cs typeface="Arial" panose="020B0604020202020204" pitchFamily="34" charset="0"/>
            </a:endParaRPr>
          </a:p>
          <a:p>
            <a:pPr lvl="1"/>
            <a:r>
              <a:rPr lang="en-US" sz="1400" dirty="0">
                <a:cs typeface="Arial" panose="020B0604020202020204" pitchFamily="34" charset="0"/>
              </a:rPr>
              <a:t>28 Neoplan 40-foot Electric Trolley Buses (ETB</a:t>
            </a:r>
            <a:r>
              <a:rPr lang="en-US" sz="1400" dirty="0" smtClean="0">
                <a:cs typeface="Arial" panose="020B0604020202020204" pitchFamily="34" charset="0"/>
              </a:rPr>
              <a:t>)		[2004]</a:t>
            </a:r>
            <a:endParaRPr lang="en-US" sz="1400" dirty="0"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US" sz="1800" dirty="0" smtClean="0">
                <a:cs typeface="Arial" panose="020B0604020202020204" pitchFamily="34" charset="0"/>
              </a:rPr>
              <a:t>Next </a:t>
            </a:r>
            <a:r>
              <a:rPr lang="en-US" sz="1800" dirty="0">
                <a:cs typeface="Arial" panose="020B0604020202020204" pitchFamily="34" charset="0"/>
              </a:rPr>
              <a:t>bus fleet overhauls include:</a:t>
            </a:r>
          </a:p>
          <a:p>
            <a:pPr lvl="1"/>
            <a:r>
              <a:rPr lang="en-US" sz="1400" dirty="0">
                <a:cs typeface="Arial" panose="020B0604020202020204" pitchFamily="34" charset="0"/>
              </a:rPr>
              <a:t>25 New Flyer 60-foot </a:t>
            </a:r>
            <a:r>
              <a:rPr lang="en-US" sz="1400" dirty="0" smtClean="0">
                <a:cs typeface="Arial" panose="020B0604020202020204" pitchFamily="34" charset="0"/>
              </a:rPr>
              <a:t>Hybrid </a:t>
            </a:r>
            <a:r>
              <a:rPr lang="en-US" sz="1400" dirty="0">
                <a:cs typeface="Arial" panose="020B0604020202020204" pitchFamily="34" charset="0"/>
              </a:rPr>
              <a:t>buses – </a:t>
            </a:r>
            <a:r>
              <a:rPr lang="en-US" sz="1400" dirty="0" smtClean="0">
                <a:cs typeface="Arial" panose="020B0604020202020204" pitchFamily="34" charset="0"/>
              </a:rPr>
              <a:t>specification under </a:t>
            </a:r>
            <a:r>
              <a:rPr lang="en-US" sz="1400" dirty="0" smtClean="0">
                <a:cs typeface="Arial" panose="020B0604020202020204" pitchFamily="34" charset="0"/>
              </a:rPr>
              <a:t>development	[2010]</a:t>
            </a:r>
            <a:endParaRPr lang="en-US" sz="1400" dirty="0" smtClean="0">
              <a:cs typeface="Arial" panose="020B0604020202020204" pitchFamily="34" charset="0"/>
            </a:endParaRPr>
          </a:p>
          <a:p>
            <a:pPr lvl="1"/>
            <a:r>
              <a:rPr lang="en-US" sz="1400" dirty="0" smtClean="0">
                <a:cs typeface="Arial" panose="020B0604020202020204" pitchFamily="34" charset="0"/>
              </a:rPr>
              <a:t>60 </a:t>
            </a:r>
            <a:r>
              <a:rPr lang="en-US" sz="1400" dirty="0">
                <a:cs typeface="Arial" panose="020B0604020202020204" pitchFamily="34" charset="0"/>
              </a:rPr>
              <a:t>New Flyer 40-foot </a:t>
            </a:r>
            <a:r>
              <a:rPr lang="en-US" sz="1400" dirty="0" smtClean="0">
                <a:cs typeface="Arial" panose="020B0604020202020204" pitchFamily="34" charset="0"/>
              </a:rPr>
              <a:t>Hybrid </a:t>
            </a:r>
            <a:r>
              <a:rPr lang="en-US" sz="1400" dirty="0">
                <a:cs typeface="Arial" panose="020B0604020202020204" pitchFamily="34" charset="0"/>
              </a:rPr>
              <a:t>buses – overhaul anticipated 2020 </a:t>
            </a:r>
            <a:r>
              <a:rPr lang="en-US" sz="1400" dirty="0" smtClean="0">
                <a:cs typeface="Arial" panose="020B0604020202020204" pitchFamily="34" charset="0"/>
              </a:rPr>
              <a:t>		[2014]</a:t>
            </a:r>
            <a:endParaRPr lang="en-US" sz="1400" dirty="0">
              <a:cs typeface="Arial" panose="020B0604020202020204" pitchFamily="34" charset="0"/>
            </a:endParaRPr>
          </a:p>
          <a:p>
            <a:pPr marL="0" indent="0">
              <a:buNone/>
              <a:tabLst>
                <a:tab pos="4117975" algn="l"/>
              </a:tabLst>
            </a:pPr>
            <a:r>
              <a:rPr lang="en-US" altLang="en-US" sz="1800" dirty="0" smtClean="0"/>
              <a:t>Next</a:t>
            </a:r>
            <a:r>
              <a:rPr lang="en-US" altLang="en-US" sz="1800" dirty="0" smtClean="0"/>
              <a:t> </a:t>
            </a:r>
            <a:r>
              <a:rPr lang="en-US" altLang="en-US" sz="1800" dirty="0"/>
              <a:t>Procurements:</a:t>
            </a:r>
          </a:p>
          <a:p>
            <a:pPr lvl="1">
              <a:tabLst>
                <a:tab pos="4117975" algn="l"/>
              </a:tabLst>
            </a:pPr>
            <a:r>
              <a:rPr lang="en-US" altLang="en-US" sz="1400" dirty="0"/>
              <a:t>Exercise Option for 194 NFI 40-foot hybrid buses	</a:t>
            </a:r>
            <a:r>
              <a:rPr lang="en-US" altLang="en-US" sz="1400" dirty="0" smtClean="0"/>
              <a:t>		Board 10/2018 		 (Replaces 193 </a:t>
            </a:r>
            <a:r>
              <a:rPr lang="en-US" altLang="en-US" sz="1400" dirty="0" err="1" smtClean="0"/>
              <a:t>Neoplan</a:t>
            </a:r>
            <a:r>
              <a:rPr lang="en-US" altLang="en-US" sz="1400" dirty="0" smtClean="0"/>
              <a:t> ECD buses)</a:t>
            </a:r>
            <a:endParaRPr lang="en-US" altLang="en-US" sz="1400" dirty="0"/>
          </a:p>
          <a:p>
            <a:pPr lvl="1">
              <a:tabLst>
                <a:tab pos="4117975" algn="l"/>
              </a:tabLst>
            </a:pPr>
            <a:r>
              <a:rPr lang="en-US" altLang="en-US" sz="1400" dirty="0"/>
              <a:t>Professional Services Contract (New </a:t>
            </a:r>
            <a:r>
              <a:rPr lang="en-US" altLang="en-US" sz="1400" dirty="0" smtClean="0"/>
              <a:t>Bus Fleet and Technology)</a:t>
            </a:r>
            <a:r>
              <a:rPr lang="en-US" altLang="en-US" sz="1400" dirty="0" smtClean="0"/>
              <a:t>	Board 11/2018  	        (Supports bus fleet replacement and expansion program + propulsion technology advancement)</a:t>
            </a:r>
            <a:endParaRPr lang="en-US" altLang="en-US" sz="1400" dirty="0"/>
          </a:p>
          <a:p>
            <a:pPr lvl="1">
              <a:tabLst>
                <a:tab pos="4117975" algn="l"/>
              </a:tabLst>
            </a:pPr>
            <a:r>
              <a:rPr lang="en-US" altLang="en-US" sz="1400" dirty="0"/>
              <a:t>Professional Services Contract (Bus Overhaul) 	</a:t>
            </a:r>
            <a:r>
              <a:rPr lang="en-US" altLang="en-US" sz="1400" dirty="0" smtClean="0"/>
              <a:t>		Board 03/2019  </a:t>
            </a:r>
            <a:endParaRPr lang="en-US" altLang="en-US" sz="1400" dirty="0"/>
          </a:p>
          <a:p>
            <a:pPr marL="0" indent="0">
              <a:buNone/>
            </a:pPr>
            <a:endParaRPr lang="en-US" sz="1400" dirty="0">
              <a:cs typeface="Arial" panose="020B0604020202020204" pitchFamily="34" charset="0"/>
            </a:endParaRPr>
          </a:p>
        </p:txBody>
      </p:sp>
      <p:sp>
        <p:nvSpPr>
          <p:cNvPr id="5" name="Rectangle 9">
            <a:extLst>
              <a:ext uri="{FF2B5EF4-FFF2-40B4-BE49-F238E27FC236}">
                <a16:creationId xmlns:a16="http://schemas.microsoft.com/office/drawing/2014/main" id="{D8AB8BEA-972D-4860-9566-F377526301B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7200" y="381000"/>
            <a:ext cx="7162800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100" b="1" dirty="0" smtClean="0">
                <a:solidFill>
                  <a:srgbClr val="00269E"/>
                </a:solidFill>
                <a:latin typeface="Arial" panose="020B0604020202020204" pitchFamily="34" charset="0"/>
              </a:rPr>
              <a:t>Near-Term Bus Fleet and Facility Program</a:t>
            </a:r>
            <a:endParaRPr lang="en-US" altLang="en-US" sz="1100" b="1" dirty="0">
              <a:solidFill>
                <a:srgbClr val="00269E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22781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Facility 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Program Development Plan</a:t>
            </a:r>
          </a:p>
        </p:txBody>
      </p:sp>
      <p:sp>
        <p:nvSpPr>
          <p:cNvPr id="21" name="Content Placeholder 2"/>
          <p:cNvSpPr txBox="1">
            <a:spLocks/>
          </p:cNvSpPr>
          <p:nvPr/>
        </p:nvSpPr>
        <p:spPr>
          <a:xfrm>
            <a:off x="1371600" y="1447800"/>
            <a:ext cx="6705600" cy="4800600"/>
          </a:xfrm>
          <a:prstGeom prst="rect">
            <a:avLst/>
          </a:prstGeom>
        </p:spPr>
        <p:txBody>
          <a:bodyPr/>
          <a:lstStyle>
            <a:lvl1pPr marL="228600" indent="-228600" algn="l" rtl="0" eaLnBrk="1" fontAlgn="base" hangingPunct="1">
              <a:spcBef>
                <a:spcPct val="100000"/>
              </a:spcBef>
              <a:spcAft>
                <a:spcPct val="0"/>
              </a:spcAft>
              <a:buClr>
                <a:srgbClr val="0033CC"/>
              </a:buClr>
              <a:buChar char="•"/>
              <a:defRPr sz="2400" b="1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576263" indent="-233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2pPr>
            <a:lvl3pPr marL="914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3pPr>
            <a:lvl4pPr marL="1262063" indent="-233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4pPr>
            <a:lvl5pPr marL="16002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spcBef>
                <a:spcPts val="1200"/>
              </a:spcBef>
            </a:pPr>
            <a:r>
              <a:rPr lang="en-US" sz="1400" kern="0" dirty="0" smtClean="0"/>
              <a:t>Validate Focus40 </a:t>
            </a:r>
            <a:r>
              <a:rPr lang="en-US" sz="1400" kern="0" dirty="0"/>
              <a:t>and IFFP service </a:t>
            </a:r>
            <a:r>
              <a:rPr lang="en-US" sz="1400" kern="0" dirty="0" smtClean="0"/>
              <a:t>needs regionally</a:t>
            </a:r>
          </a:p>
          <a:p>
            <a:pPr lvl="1"/>
            <a:r>
              <a:rPr lang="en-US" sz="1200" kern="0" dirty="0"/>
              <a:t>Confirm/revise fleet needs to address anticipated regional service </a:t>
            </a:r>
            <a:r>
              <a:rPr lang="en-US" sz="1200" kern="0" dirty="0" smtClean="0"/>
              <a:t>demand</a:t>
            </a:r>
          </a:p>
          <a:p>
            <a:pPr lvl="1"/>
            <a:r>
              <a:rPr lang="en-US" sz="1200" kern="0" dirty="0" smtClean="0"/>
              <a:t>Overlay </a:t>
            </a:r>
            <a:r>
              <a:rPr lang="en-US" sz="1200" kern="0" dirty="0"/>
              <a:t>existing routes and contemplated Better Bus Project bus route </a:t>
            </a:r>
            <a:r>
              <a:rPr lang="en-US" sz="1200" kern="0" dirty="0" smtClean="0"/>
              <a:t>changes</a:t>
            </a:r>
          </a:p>
          <a:p>
            <a:pPr lvl="1"/>
            <a:r>
              <a:rPr lang="en-US" sz="1200" kern="0" dirty="0" smtClean="0"/>
              <a:t>Current </a:t>
            </a:r>
            <a:r>
              <a:rPr lang="en-US" sz="1200" kern="0" dirty="0"/>
              <a:t>facility evaluation</a:t>
            </a:r>
          </a:p>
          <a:p>
            <a:pPr lvl="2"/>
            <a:r>
              <a:rPr lang="en-US" sz="1200" kern="0" dirty="0"/>
              <a:t>Analyze feasibility of modifying and/or expanding current facilities</a:t>
            </a:r>
          </a:p>
          <a:p>
            <a:pPr lvl="2"/>
            <a:r>
              <a:rPr lang="en-US" sz="1200" kern="0" dirty="0"/>
              <a:t>Identify real estate to for construction of new </a:t>
            </a:r>
            <a:r>
              <a:rPr lang="en-US" sz="1200" kern="0" dirty="0" smtClean="0"/>
              <a:t>facilities (environmental, 	          permitting)</a:t>
            </a:r>
            <a:endParaRPr lang="en-US" sz="1200" kern="0" dirty="0"/>
          </a:p>
          <a:p>
            <a:pPr>
              <a:spcBef>
                <a:spcPts val="1200"/>
              </a:spcBef>
            </a:pPr>
            <a:r>
              <a:rPr lang="en-US" sz="1400" kern="0" dirty="0" smtClean="0"/>
              <a:t>Model facility Design (Procure Designer Support)</a:t>
            </a:r>
          </a:p>
          <a:p>
            <a:pPr lvl="1"/>
            <a:r>
              <a:rPr lang="en-US" sz="1200" kern="0" dirty="0" smtClean="0"/>
              <a:t>Small </a:t>
            </a:r>
            <a:r>
              <a:rPr lang="en-US" sz="1200" kern="0" dirty="0"/>
              <a:t>(100 busses or less)</a:t>
            </a:r>
          </a:p>
          <a:p>
            <a:pPr lvl="1"/>
            <a:r>
              <a:rPr lang="en-US" sz="1200" kern="0" dirty="0"/>
              <a:t>Medium (100 to 200 busses)</a:t>
            </a:r>
          </a:p>
          <a:p>
            <a:pPr lvl="1"/>
            <a:r>
              <a:rPr lang="en-US" sz="1200" kern="0" dirty="0"/>
              <a:t>Large (greater than 200 </a:t>
            </a:r>
            <a:r>
              <a:rPr lang="en-US" sz="1200" kern="0" dirty="0" smtClean="0"/>
              <a:t>busses)</a:t>
            </a:r>
          </a:p>
          <a:p>
            <a:pPr>
              <a:spcBef>
                <a:spcPts val="1200"/>
              </a:spcBef>
            </a:pPr>
            <a:r>
              <a:rPr lang="en-US" sz="1400" kern="0" dirty="0" smtClean="0"/>
              <a:t>Investigate modern technology, building techniques and partnerships</a:t>
            </a:r>
          </a:p>
          <a:p>
            <a:pPr lvl="1"/>
            <a:r>
              <a:rPr lang="en-US" sz="1200" kern="0" dirty="0" smtClean="0"/>
              <a:t>Electric Bus Infrastructure</a:t>
            </a:r>
          </a:p>
          <a:p>
            <a:pPr lvl="1"/>
            <a:r>
              <a:rPr lang="en-US" sz="1200" kern="0" dirty="0" smtClean="0"/>
              <a:t>Vertical and TOD development</a:t>
            </a:r>
          </a:p>
          <a:p>
            <a:pPr lvl="1"/>
            <a:r>
              <a:rPr lang="en-US" sz="1200" kern="0" dirty="0" smtClean="0"/>
              <a:t>Separation of maintenance and layover</a:t>
            </a:r>
          </a:p>
          <a:p>
            <a:pPr>
              <a:spcBef>
                <a:spcPts val="1200"/>
              </a:spcBef>
            </a:pPr>
            <a:r>
              <a:rPr lang="en-US" sz="1400" kern="0" dirty="0" smtClean="0"/>
              <a:t>Sequence </a:t>
            </a:r>
            <a:r>
              <a:rPr lang="en-US" sz="1400" kern="0" dirty="0"/>
              <a:t>facility program to meet existing and future </a:t>
            </a:r>
            <a:r>
              <a:rPr lang="en-US" sz="1400" kern="0" dirty="0" smtClean="0"/>
              <a:t>bus and network needs</a:t>
            </a:r>
          </a:p>
          <a:p>
            <a:pPr>
              <a:spcBef>
                <a:spcPts val="1200"/>
              </a:spcBef>
            </a:pPr>
            <a:r>
              <a:rPr lang="en-US" sz="1400" kern="0" dirty="0" smtClean="0"/>
              <a:t>Project Design and </a:t>
            </a:r>
            <a:r>
              <a:rPr lang="en-US" sz="1400" kern="0" dirty="0" smtClean="0"/>
              <a:t>Construction</a:t>
            </a:r>
          </a:p>
          <a:p>
            <a:pPr lvl="1"/>
            <a:r>
              <a:rPr lang="en-US" sz="1200" kern="0" dirty="0" smtClean="0"/>
              <a:t>Incorporate into CIP</a:t>
            </a:r>
            <a:endParaRPr lang="en-US" sz="1200" kern="0" dirty="0"/>
          </a:p>
          <a:p>
            <a:endParaRPr lang="en-US" sz="1600" kern="0" dirty="0" smtClean="0"/>
          </a:p>
          <a:p>
            <a:endParaRPr lang="en-US" sz="1600" kern="0" dirty="0" smtClean="0"/>
          </a:p>
          <a:p>
            <a:endParaRPr lang="en-US" sz="1600" kern="0" dirty="0" smtClean="0"/>
          </a:p>
          <a:p>
            <a:pPr marL="0" indent="0">
              <a:buFontTx/>
              <a:buNone/>
            </a:pPr>
            <a:endParaRPr lang="en-US" sz="1600" kern="0" dirty="0"/>
          </a:p>
        </p:txBody>
      </p:sp>
      <p:sp>
        <p:nvSpPr>
          <p:cNvPr id="4" name="Rectangle 9">
            <a:extLst>
              <a:ext uri="{FF2B5EF4-FFF2-40B4-BE49-F238E27FC236}">
                <a16:creationId xmlns:a16="http://schemas.microsoft.com/office/drawing/2014/main" id="{D8AB8BEA-972D-4860-9566-F377526301B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7200" y="381000"/>
            <a:ext cx="7162800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100" b="1" dirty="0" smtClean="0">
                <a:solidFill>
                  <a:srgbClr val="00269E"/>
                </a:solidFill>
                <a:latin typeface="Arial" panose="020B0604020202020204" pitchFamily="34" charset="0"/>
              </a:rPr>
              <a:t>Near-Term Bus Fleet and Facility Program</a:t>
            </a:r>
            <a:endParaRPr lang="en-US" altLang="en-US" sz="1100" b="1" dirty="0">
              <a:solidFill>
                <a:srgbClr val="00269E"/>
              </a:solidFill>
              <a:latin typeface="Arial" panose="020B0604020202020204" pitchFamily="34" charset="0"/>
            </a:endParaRPr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>
            <a:off x="381000" y="1481846"/>
            <a:ext cx="1066800" cy="4800600"/>
          </a:xfrm>
          <a:prstGeom prst="rect">
            <a:avLst/>
          </a:prstGeom>
        </p:spPr>
        <p:txBody>
          <a:bodyPr/>
          <a:lstStyle>
            <a:lvl1pPr marL="228600" indent="-228600" algn="l" rtl="0" eaLnBrk="1" fontAlgn="base" hangingPunct="1">
              <a:spcBef>
                <a:spcPct val="100000"/>
              </a:spcBef>
              <a:spcAft>
                <a:spcPct val="0"/>
              </a:spcAft>
              <a:buClr>
                <a:srgbClr val="0033CC"/>
              </a:buClr>
              <a:buChar char="•"/>
              <a:defRPr sz="2400" b="1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576263" indent="-233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2pPr>
            <a:lvl3pPr marL="914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3pPr>
            <a:lvl4pPr marL="1262063" indent="-233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4pPr>
            <a:lvl5pPr marL="16002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kern="0" dirty="0" smtClean="0"/>
              <a:t>Spring 2019</a:t>
            </a:r>
            <a:endParaRPr lang="en-US" sz="1200" kern="0" dirty="0" smtClean="0"/>
          </a:p>
          <a:p>
            <a:pPr lvl="1"/>
            <a:endParaRPr lang="en-US" sz="1200" kern="0" dirty="0"/>
          </a:p>
          <a:p>
            <a:pPr lvl="1"/>
            <a:endParaRPr lang="en-US" sz="1200" kern="0" dirty="0" smtClean="0"/>
          </a:p>
          <a:p>
            <a:pPr lvl="1"/>
            <a:endParaRPr lang="en-US" sz="1200" kern="0" dirty="0" smtClean="0"/>
          </a:p>
          <a:p>
            <a:pPr lvl="1"/>
            <a:endParaRPr lang="en-US" sz="1200" kern="0" dirty="0"/>
          </a:p>
          <a:p>
            <a:pPr lvl="1"/>
            <a:endParaRPr lang="en-US" sz="1200" kern="0" dirty="0"/>
          </a:p>
          <a:p>
            <a:pPr lvl="1"/>
            <a:endParaRPr lang="en-US" sz="1200" kern="0" dirty="0"/>
          </a:p>
          <a:p>
            <a:pPr marL="0" indent="0">
              <a:spcBef>
                <a:spcPts val="1200"/>
              </a:spcBef>
              <a:buNone/>
            </a:pPr>
            <a:r>
              <a:rPr lang="en-US" sz="1200" kern="0" dirty="0" smtClean="0"/>
              <a:t>Summer 2019</a:t>
            </a:r>
            <a:endParaRPr lang="en-US" sz="1200" kern="0" dirty="0" smtClean="0"/>
          </a:p>
          <a:p>
            <a:pPr lvl="1"/>
            <a:endParaRPr lang="en-US" sz="1200" kern="0" dirty="0"/>
          </a:p>
          <a:p>
            <a:pPr lvl="1"/>
            <a:endParaRPr lang="en-US" sz="1200" kern="0" dirty="0"/>
          </a:p>
          <a:p>
            <a:pPr lvl="1"/>
            <a:endParaRPr lang="en-US" sz="1200" kern="0" dirty="0" smtClean="0"/>
          </a:p>
          <a:p>
            <a:pPr marL="0" indent="0">
              <a:spcBef>
                <a:spcPts val="1200"/>
              </a:spcBef>
              <a:buNone/>
            </a:pPr>
            <a:r>
              <a:rPr lang="en-US" sz="1200" kern="0" dirty="0" smtClean="0"/>
              <a:t>Summer 2019</a:t>
            </a:r>
            <a:endParaRPr lang="en-US" sz="1200" kern="0" dirty="0" smtClean="0"/>
          </a:p>
          <a:p>
            <a:pPr lvl="1"/>
            <a:endParaRPr lang="en-US" sz="1200" kern="0" dirty="0"/>
          </a:p>
          <a:p>
            <a:pPr lvl="1"/>
            <a:endParaRPr lang="en-US" sz="1200" kern="0" dirty="0"/>
          </a:p>
          <a:p>
            <a:pPr lvl="1"/>
            <a:endParaRPr lang="en-US" sz="1200" kern="0" dirty="0" smtClean="0"/>
          </a:p>
          <a:p>
            <a:pPr marL="0" indent="0">
              <a:spcBef>
                <a:spcPts val="1200"/>
              </a:spcBef>
              <a:buNone/>
            </a:pPr>
            <a:r>
              <a:rPr lang="en-US" sz="1200" kern="0" dirty="0" smtClean="0"/>
              <a:t>Fall 2019</a:t>
            </a:r>
            <a:endParaRPr lang="en-US" sz="1200" kern="0" dirty="0" smtClean="0"/>
          </a:p>
          <a:p>
            <a:pPr marL="0" indent="0">
              <a:spcBef>
                <a:spcPts val="1200"/>
              </a:spcBef>
              <a:buNone/>
            </a:pPr>
            <a:r>
              <a:rPr lang="en-US" sz="1200" kern="0" dirty="0" smtClean="0"/>
              <a:t>Future</a:t>
            </a:r>
            <a:endParaRPr lang="en-US" sz="1200" kern="0" dirty="0"/>
          </a:p>
        </p:txBody>
      </p:sp>
    </p:spTree>
    <p:extLst>
      <p:ext uri="{BB962C8B-B14F-4D97-AF65-F5344CB8AC3E}">
        <p14:creationId xmlns:p14="http://schemas.microsoft.com/office/powerpoint/2010/main" val="12061730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OHdSMGn80SAkSMQY+vPsTFBOXVu41tbu8+6L0VwS+f0YXQsvhOkAyC9Q3nWduexXP1SnER2NIGshevehlmtKd+FtrOgnYeeOJm2Vh5Ae+y+xKhASf/IvnVfgtmbX2MyuTiuvk7voq6Rh2cOkR96QxxeK5kgawCNtUErPBqWVpcRxY69QRqLYD0d/R3mcrF5ZRvjT9yV41bhvRjGKBaSy/m+yRT4frjCaxVaNKsjR/f1Ci1c8I//o14A6hkV/Ahy9HetNYWo059XhLhcsACwOVpCafS/IFD0uR0vAWLFyIUM6aAEu7CFhzTxULFIFHBcUkvz/C3WJ3lqHf5xkf5MvIrgCRY/QZC59BgzxwSxpecveb4Z7fyu70GTl803C8LKOyGneG8SAGpfUeG8WTp+d5apno3MIPTLE7KMQ9EsFFjSSMgMzKZME3yGQWBjFFq+K5RQO6jgOfolyWl07nDmyPLnzZXkljID715DP1QkKVGGBxtAPcMvXCINYfbJaxiZEuEmvozCcM+D78yCW1oGrDvzcCoi/iKNKwlNfiJrGiP2Wkv8vRA20li1rE20I55J6N+kzaqG/T4Tqbg7pBP1qvbkKy6QcLMq7p+Im/jISfubdkIrbLvoCnBp2UU8d18ME9B36SAu/nBq7uLY/5WAtn5fOEP5e1NXucBNp3eII85w+hQX2UDUVEhzDGT8Dykg1WTRgGSonSfZFQ1s3tfjsnmTz67295UGft4nhjFAAH+NCJj4gy+/o6Y1OuT07EDztA5Aa/KAfIeGjR0rj2KaXGj1gV/5e8bB5XkstaeOfZFMIZkWetP+FEoKHtHAfcRBO3Zze+canBqeIerfztf4hWZrWGaq0dnUJdSjcF+uuo9A5kHwK5FbbbIFEEYDTFaSxO89KA5YMKvwayObowmaY/RpVT7B/iiDfq2AUIrTlClahO01GFYawQj6vFBpSCYh+7CxHoa3pcm8UsH9hpdRx/A8RvFfWka6qQdWUjB/xIqy0wZFHzGLyeo5MKXRkblAUB9vFYt8xJ9BGEuAfgXHA7yvyWWamuFPhFCfctvBK6SnZSNh8ZOzzq6EDJco9UMX8Nyh3/b7CpYv43d/61qk0bm8DyV0nwxiGoe1m8DqKJneHRshFE7a26MWfy59pNOOGpjmxmTy4J0aJXWB4JlDfyEsQHvlAVArG9Rma9aSumVdSO97cL49ZBIlg7qQwcvhS0A4xDnAZapCfUJl+rRfxvvgSsI89Vbzo+Jv9A6R03uyG5VF0esZKY/FsXryYJwDGSQOVzkfhA0x6vOcysI8Z92jJwcdL2SUiGXPJPX0KDxCPU5kWTcszGXuycqMA/MA6Ao1n7/xR4r1m1K/5EbmPcr69mWePM944zsqps0T8WJcDT3SXnZZdZ3c6sZSv/9aQOP8HSN70+6Ubmt2FW8tmMlUw3URz67VKGgDOHFn9jgUh3bjVzDPua5wgfmv1/wAxrEG04V8F8MekjpA6GrXem3lkIfNSPzDzv2h6/OhhYYxLkXasxYMtuR2ARs8TOGXoRS1fs1dsXx1TsFdcx+RMwA8RhIGl56hpfhSQBERaK64Yapg7qOS/I9KL8WgVOsCSJ9Ty8PzeJfhG3EnI1HruQqHdXTJRPaaW7d3n0DtMuDh0ksG3gydSN+Fhc6JDFfd/Quoet/UEPtmqK1UhTG9HGSZPMAX3TIkivL+uUoh0fLor+dr+RBkN3tufL9O/uVklR75NaubomtyyZuKufQATwCmFdXpRKpvBFtpiXkkpAkgEK6d49aXDOQCWyzn+Tm87bT/lRPke29bvs3ez8LdR7vRxtzusDypJGdLO+HyEOHQ8AuPXFEPB+gTQUE4+OB9ZtbSu1jch5eY4M9ujzpBjLbtjficSQt4eTO1S0P/NExBEU9XcQRJ9xeceVnlXQri6fs/OKIuDA2rnjKnj3YYcOCpCB558CDG2iR2b3FPnBUVZ81hcVPnqTX8ALlNkpYisoSojqqtflBNErOVSgfFzNqbP2QJpjrDBBPX83szdMi0bznSSN0epFnfsZuE+avdj1985C3WoCK/ZqoYow8uYtLlByo6Xnj4EsJ0vNfo3lH0byniQzVU1xzMEDg2t+dps2zXCKOn5m4fOAVLW8SdnoByz6/nkqLPi6YRr3hSaHaCyTky5714LaMg8X8CL5QwTFYhRSJ7g5xpFwSErQ5C8rOv1mKUedUBunBYaTFwLVhkjPzPnOH3jvTe3BnrzJulW7sbtA5lfyVAQi0k2FcwAa1LJFivit+DYukqhLxKViitRbB/dGzlIbiz/rMtB5KPuICao3wPu4eq9BLNVzdZe1LqNvx6qYYXwF+MTZ7fB5qWG6u2ypCfstFovyCvPTzDd80q51QktaV2pjBDaAIpmDVohfoTo7j4oc4rSM8CpN1tV3GM/SQTFHoomzFaMc4susYmnsGlr5ezmfolvx4ckGpGPjSYBBKSmF12nMYtYTvaVdPrzO9MldfSH9PYYQZDU+fByb6ZlPNA/5DSaL8Lq0aLNA9YBOgaK42aWg4wFNz4AAH41JmiUWpvNeU9olphMhsNy4CulzETERD/Hs8R0SMp+T8+lRYWxA3Z3z3boj42Dxr/93KZWbXERd64/NTgbCKqBpKoTPDNFBkSDzYwa7wW9YHZSH1PlHAxzCBMKw4gED47CL9hC26OwUJG+IdMQ129qSJ71OkWxtbQf2cuwH/WplYXPvII9f/UXecT9JYQO26dzNbyr8vfjmGalrVPoZwBWiokCDdA3mKdb0WzLYTLzTGKMdCsB9EyE4kUf6z4wD5rYGle55yTNtJuKDdLJTqwi3aSImP/wcO+DM1VemTye/fp3PeDwnEDHsgfYJd7QFIFEBXIZRYj9T2vecLB1H1+1PZzDCuAXlRjag5o7aOxEoJxjydiqsBS0hASbpyItjro+xO5M5kXwxsHr+esJt1faapET9bEin9ZB5nutGCYQUPldafKbD1a+kr0OUYJ5vFRksyGqxsOnDmRS4DPIkN6cD41sceEsc//sj/L5EPw8YDjcm5qbIJieANSrxe7XIcMTT0ZnDNi5HfbgygiztA/7lWMmFVO8FzinbZkW/VeysXcHKJYcYm9MG6RbnCds/QQZHvPKLRpSOH1SqbwYghyES4CYQQ54temXhmCfgLCaiNomkuToWL7VPt2nJbwCkLAGAViKkTrZQwHFR1uqaWfxzCtpurLw5RwdHHUKmdLLKLEvNGSFI097U4D1Hp1IruR7BxPV/arm0/hMoQ3HPksmr5+jQ3oGcgyCUI9/VIDV5rXIkEfc5HXkiB3FNxi8M3V99uaf9CbswhhvW6n7vVL0peNenohyZRVUtIy08oCe8qAWIUoqnrO1B/tN8Tb9dABfRxmQ1KKUSiaTDox6Ej40/2plhDhiaosRXhoOwAah9bPMm13EjVxrVkN1mP6s48JbY8ZykWKxpdB32dEr6Wm6JmIAp111LQwHwZ1vKn3HGdEA5kDGPHn3rAz0TVvoN3QytGMn1r7+aR7hxtOjyeeWk4KTIuJmWNYvc6V9/MfXgv6QxIVLDIJw63VKmhxdgXu9Gr0HcU/FuwTXO5VLwsC/UtTan81Q8GQ/wX1YqovGytUK3IrpTDOsAv7hByNdsgLEWn/+mbVIIO3fTWEC0+X5Ht85NR34DIMHztHSbWxGxTu0zcD0+EoDcpA3rs2ITo4bMvx0hpHd9uspnDfT4VCsyqO+8dlr0vyos4kOnkiXJnsqjIlWgTAV8QDthZHJdvNDyZFNpScsy8xWnUtjBOdwuXeizzf6ZJpQjPdd7O7rUUsR0T61KhLKc0EewM/KZ9X4LP7Bf3H+hWwycChseOn9Ewm5X6be/iCclNgueBNRWANmQX+oUbChfV5sD4gdDfAaPyQxxAcX83M+4oWaxFJXCJlzvRBefQ0M258KagLy3+CvR5X7q4Zj943gH28D2kmkmwnAxnTon/z+ij8isWF4ynSnlC1OlJCp/qdMVeFqKGD2Lxq3d2wvFirL20+U9okfm4qddTLPAvw3HYUejJfSLjDqewV7WMljJSFiwT6+s+wsZYlSe7BIuqE+vHFKNJEPX5LpI7XqR7mV0SIw4BO4E2Zp0EwerMvmFk83oElxg6IQpV2S9FXHFkPHOmXolHD6UsY8mj4xbS7jaOv8b/u9ElS/LCmaq6FUUr/ejE4GdYD6GJKrNUvFgvIzly2kbk1U1WTANfKN2xV0BLVRNRi+OZKBjSiM0XvFVueF9kc3F2F5eAtVGkazNGZHOrnj60U/rgxgBZJpGvvpiUjUNKZpopbzj7oekfr8h3kGXSGEYXuaAoWlAyd9NwXas5f4HXMN9b+Vs/vEvylzBpqQznkXnlWh7RVPP/kYdMNomWqebKYrRFycB0PCtxVcRQ3D3e44PaLku+Mu7uscVBxy9Aaz+8nhA5KcSctKnu3P2NP/Hz2DGwPkupiX//ChOv1hfkh1OCiZXSSN7CJRpXuv1TeHMZkG7TUCKvARuZto9DQKimtDDvRwJiYLxTglQvqPUz2oyBZ8UVYEcDz4BLOiHrHLP1TegxbF8y1twgJvVlZE3erxkXDb8vibdp4ghQv0bLjIEh1aFqV6KlWngnU1chghOChp/RD0zSYynzP3vhFDso007k525nFfr+h1wP90s/theWsk8KBxOLS7BI2ncWiGJxWISlxbP/e2jnktvzsVzQ4HywemxTPoBLbRiujpCDYj5mHODxNIsGcwCwrOWc6egj4Fhm6cvHjmPq+C55+RPbJM0pzx1iIyRHsEunfgcJHQ+Pg3IgrlQUb+Ij2nkJAeXTjTkyQa6T8QF9rqzfNTrxdOLMktv61bAonkiLFL5PM77gX01rPWZW2fOxD82JJnKdoMhegKDgtqjNWiVIA5dEkKwrkaRpGCcHhORcE31KgcbWu6MZui0zm/K1cd1v5aLF37x1PVCVLNiGtHwrfByNSAUDLll9UgDpQ+UCYZvDB89hvh0Fz+I5eWJlcojwB/wouuoT1zMH9HY+upwdSwMhKuKBnRVwHLNv6seDdj3lwNlxV+E3+M5uBOELnlgC+7w3bpgXKXt1BvsZY4NhhWzpchRWfhFN/qR6zDPmNOYjmeiEe/oP/oQYDNH+pvLtc11FYdAwBLgoswxMnPMvu4Dhm5SCm380R0klidOCEo5Zr/gHmLzwqIrD+jioK0/A267fddYThlj+mkoq2pGgW2Ws3UClhgg3jxcx6OT1wMO7RSFsinSzH0+BpqRadC1xqd4WgGX29eqD5ZvMgRvsp32Z3eP1R1uU4tTerDHg1aWsPJts4Zw7WCQpbAE87gnICGGxvmPwpOpBpm4TyPTbHzHKG9FWxnScXsETWX5hlaBNEP78lMlqEdrQQsZ4WXCUJYUbWM9fcRtqeOJQQ+OA5CE+YUwdz2axMaE2CMQnDKA2UHQ75PVH+I94z+lVybRzDS9Dr7NMvn/N2vJ9o5g/QUpT3jf82u04WnHtaQm1vEJc8IbutHQfyJDPPn9rJG+r/l9cRkwcrUcQXMz5fiAFuch3fADsZ+uuvoyVGsI7lvOgQbqrs5JMzGrxyvZDuy/Lt/Zz0C2lCvm1sTt1OcFmb1gB0E2vEh9RS6Fuq0p/MyTtlZHq/44qbrAXwqdAQpqg20B6KpLXnkK9NSnkj4bPJGmXvvvWv4PJICJ6D50TbX0iVgqtFunEH37oHES5NrHGzAFhIkGxjgD+Ubz4jhr4UE+0SPE7BEsVvl0gCOks/Ws3Z2wvI3IFxmYgFW0kwT81FTAOKTz2AmO7+PBMfJN2AN2pujkt5VgLWEWeTDjI6VAOyGN1w1E0Ksr/6Fb++mk6uS64uDFu4Z5v7B57p/8xhE1bA3jsuvUaeb6v26VhT0cXfVkp973muNUU0rvWbvCRaBZMkOWtH/Wv+SHVkJfq2+7JXf4Q92qJJzVU2SK0ZjHUGxsVjXNh80vPGsqlGBH5c9DffuXpnK4k0X+2HM7g4Xjs1e8f+3bl37XFuHHPANwGsxDI9811MjTOkTj+KCOimrb0vF21lGz28EPlGsliPnvOaEjQyjovD+WutsG4xpFPU8AU9EKtALpLfuy+IWIABnu/mGTFU4HjGyi5J8WYovgBNeca0moIX00Sw4RVysTBr1E2IwoRFL5tEAXs1wA6w9kHXKDkeECmoof8Z40TdYnb6PHOl2omjFQz3uVX4Qh/WmOvDT0z5lBqR/WTMDoN5mrx7E10QOUkKXq52j+Z4p4mjRKfET9x7JZgL27PE9BAbMDDcUXk71/MhX6z7BoaNhv2NMG1S0qAzxc9T7CTm1PIr7HUzFjx5diqeDNjpljOomu6QofUcxQR+ZTjs9axGrfNoDzWJtvu1VF5AvD6Hg3gl1jLg+1fnhN5nYOp4bbHi7IIymhmyKCJaJ8vXiUmQzWcE4hAfQPUtirCmDMaXAVyaZBYpCj4FuJyqIBAG703AeJ3U7md4HEWjhSixinVzpzOea5nE/FGbxBpk3WP3iE0PqqUAO3k7t4R8yJ8vYBVLbZpAvVlEDNraCIos5BPZw9inikokQfTJUSof6AvK0mzGrBbLiygF6peBdCeUON+12BdA/+I3adiYaDb62UZ4P6IWkoQNtzdt44kD6nRjZ1AFKDeHrgUdB1t/4TSodbSMa6pdkWw8/89vP8keUMir1jZzDPhz0krMolns2t9112skmcAGMKB8tacF6wViheQR4+soX/3ExU+CuJaad5Qji9Y/lb/+oGbBSXTRt9WqGB2RDP8u+T2Hh5emoLySJQYLYCi+3+NwhllUhEkjfgbXfsIWKQJEaKcyq5TpfgSydkqyfHUPdhFe2RQ9U+sV+/fd4EZgSqkxJImNFwbdWswX5q3MIXrhOdRSS4ZlW7wUMsPYHYcs5hw+vPlhkAx/s+07BVhowR/QZWXFTgwn1KvRIeYo+0+TNnhYx5McszJfK2A65rTG++EL0egutVYu6Rd0dM4CBo478HIFLNV7nZXGlaWToQjQr5wvsAaXRzu3733sc62jnMvbhP/bZlc/IEDNu1VcADdc30cDARpKii1KcGdMhpSKg/LoTe7Jo7bB55/26RuGUZ0c4UO0wx038pEjhrCBoSdbLPQXI6g3kHiTzbwV1dFWwoX6GGJxdNkDEZZe2YvE8qEduySOIwOO8zSPTlKeiqJZvSq26sn8qlR1UHztKE0RAmbecCbVarp/O55NNHw2TRP/ZKFtxxy+hdroHH5SCNJpLSiYiVuKzE+HLS3YDbemev2V8faydVS9BrjVZGwJO55jfaBsdkmbsBn6PkdguhqWYmULmjrHoR4l0626cPy5yMkPs6rS6boDonwzdD0wAvvjajQfTz/kUr85DxuMEqUN/kPVEpXt2P0j4TVc6o7YUDXSfTLTI3HEprUgHfX2HziJfF53R5+MPKbheMFWOwPd6aEcfnKavdbev2I7+7bk4tS7NFxBPq3MlupP1ZMofpe6/bCDMAneS62aPYa96Wr6rB554b+ztZzxSiLrOHQLfpTJLs9yiT6UzGEj/yyTezTXkS0MMKBkSOmesqAYlwnY78FrtOaXexC9xS6ohoZC3K38LUopwFCs6mzvIIlYPZyOOvuyiB0I9YVqrFxRz/4KUtEPWqPm8MkKG78xVT8R1SKgXHzsMS5duHLXYr3ZVDmPD9HxA7n/pwN4sR/viXktu0jQjwEGtQF4sl9ZYKTPkgcHfqZiXrdRIOAJhZeBJncHf8OoFijrczyuLPPhf12TduWTYKKZZS8/nbfH4Guc5jCszx2yyysCMuOL5y44Mub0o2EAcD7+RiS2hMmRL97VOJLXY6Jr28r4kSbva6WulQt93HughyB6Q7jySWERB6M/4JFCoBoMNb8GWd7mtVYoYKwstTosKXPHEMwmvU7NZ/KOQIcUUJKjqfwmD9u1gdUuudHVZ32VY+iEM/v4KdelAKCovtqXbiYp5guiUAwlR5kgAxlSygY6OtRRZzi+gTErXjUqvFhJYtEDDx2GqI8ckzpUQaDgTb/V0MVmZowj1HP4tMOeIOfbAsARLADMbD/j+UwMsIQWtrv5BkysDwkGhNEiX+jKWMt3Pc6QpxIpHKCS9Ep/npAL3mkt+V+x9SFdZfC/x0cIUUB0aRdK9rcl+APi7tv/qMWD3jnxarv046AXAAT5EjtLu58omE9/odoz7szV4/qKUKNzfVJyg3bIggnMW0OzlwFVVhuUxM+yhRwnnImMoh2+WLCK3JmkXHuJUIgAKlMkjIeegG444R+pXkjNMNTJsLAUIGb9jJJcUYlfFVzBlqwDIBRHQnOaJfr6VRYH0Uze4XtTCOX0io43kl+76vHWdSpmlyyuOBk4G+Vj+QWNoqXPmJcY0tOCEkNCA+tD3JCO5FzTDgb61XK3SXTIy3NBEyot/3m4fqRn8mZk5SR+cQAh0O7ERFlXUtPfJxhQPr9mTv3IJP4mRMAKJvhc4gaJwwu2YwmDPPDAx1DSwtFTZpNAPruKt8yTePo81OHd86XIyLyb0MPttIKE5Bm8p1ljcwwKS/EDCnReZ3y0FfxIj5cMRvmnHPemLKS2S+Nw8fNEiB33XKrLeMgdO17znhJfjAM37rtYTK3/XC8iQsiBbgcpzyQFac1MO4Oi1H/FvmmwLZWT+ufZNW8tCeDJQJR/VxSyAHjZbe13PJ1Qi8TmNuACKj7sFJfZDEHJFA/NHUZhJbfTRgb3CJeZtI6MofqEkEhCUHDBk9BDwa4iI0Ygcd/FQT9rOjimuDBV4asugeHkSW0d6SG/4XPptHmuL+jvgQIPZQyurnUxS4fzHdsxyg56ioj931befyzmkchSth7Ftg/oVTJv+G8Xrbn+T6wUO40qBMTsK41ec48sq2SS8XyQl8MM12kwIMiGpa60LVtjCZ/H/t/vLepyueH0s9JaAfa6enene0RYnJ+sgvMsFgSxBdtzmA+Fc/saxmLb9A9aP4la3oRi1ykv/tb8nhtXzYbNkej6JompnGKSsAXjeDHEF/73tVslUwPFRhq4BsYYQimGhgymktyvpZPRGviQbqxcIVbtAOFbkXR+Y9sYKMzyVF8bSg73JdQ8I2JCKOGegUXMg7oNw8mdv3ToO7++BoBejxjVPt1cPp+cP4pcaEDq9VrYhsRj+DtjMrEd3n6unh0+mnu8zAMjkkY3IwREpf05eCdqmHsslJ1MP55G5210ukyBCo66FeLFkMn9HeshqMbAqS462xUxoGBdElcVd3RarxokE6dw+SZrER8U7Osm/ra+W2s5SaGg9Q0zczlq8r5wVMGUXNOrWbUvCe0Jrdmwa8kc5JFVLX2SPFaYq2StnUMCl4G9aDGRojGLAUZi6kQi493dyaF4/nMRtiEXpkUEwOqIFBExc/j6wTU367mGsUiX8iz1HwhGCyAV2V6b2d70rkzSCOimn7wM6ri6hdSiMARdCKMDEl+vEFost0LwiUnV9JhYjuUJsEdSN6xj27RxOYke6ZUP/lIjbqtsDWPGfaGVeCGHWW7ubqBBGu1sl78CQhutBGUasqwx5k0pE7FPqLomhcn5vD2SQFCgYPyecPKysZaimfvXYtOMNLLd6eWm3HIdXLhLyWcNasnKx9Qe0l3DOO6/cQxbUd+AoQErHYlhA+LgJxEKncJwkcQ0xqIiWsNDgLBJjrHt+Onp+enjKxfElmbmcX3TB+P/Mhv6Hge84J8lgOVM07+XpgH7zlNawJcS3re18IZBfgnPi+tu2uhj9JyAAVF6rvCetntaJHjRSP+jEzA7sfOjENvKHp/GXpHLToItOUdBBsCzY7fSCYMk3X8W/l5oCoIyW5pOOTcFwyQzFBKcLTpTNmTvbNSVHzqpYcijCU0XRZDtFq5g+Wbpz2tWVoyZf6+PynpDYdQV9zHzE7eH20cgyXtm/YIB4+yq1Rl4M2lUa/cFjgh7iNgKBh9QBg5DFmj6V1VoaBecQP7veZi+9Myw2Z4ujmHbpowNdKCh014nvPzLJhrfCbUWeggOQCXW31VmZBTIPQCpVb/uCCQPR5agqvxJ3YP+esasQFVt12gqFCZPmPd153ROzOfsoIOXH84Psd29YeDMPBNJ5GyOTWuz0dDIoNswFdgnX/laLIGpeUiaH8231AuotXX0GttyVVQRrsuQBEegZXIOpYFs/aBvbab4RqrjgozCUUlv4voS6K+M8hXYj05nUsdG3gmPiw4sv6VmJeStYrOUJew5nnQv5g0rnC+NO402khV5IPCVUpd4ASpDOWNYmCy46uW6gGo3+qA3u+PoWqdRL3GyvjRLufVIEn18HeniY+wK+Lhn0EjC0HYpOwz6b4+xRJmu5uJGkaA4c+QEkk/9/ZZ4l3CBVNYYAueu+SsvtyddQHt0eukefttxloX6FV+msqQfNvyiiu6HlsaCfNuBr5JBUmncpE6amSL6CQuIr2Epw+KLy2DOUIEHO/du/56R0Pg8mlpqovCloGbAzrvLYhmS/+uVkf2Wi4KzbOfwGg+BFVOLDojyWRmqkxYmmIAcW8qFyCxw6xTKSpQKA81NyNQKp4z7Exvex8rDI9VJfimDbs7uqvnaCQh3S0Flp49B9NU2x1J8qi8n6OfeMGUAd7PqpWcWYR7HefVBZM+9ZwEkimKrmSkCgJh9f9rbbJKKllmQ8xUrj7/ix28Es1dLkyPHa3Y2Sc0ZGeWkIKzRnAARGd43hqkGHKCQ8tHU5TOKmnhC/WysffBnKdJiR+tWVumtV0GRUeEjnl4k0FRBCci6zP/ADo3RbdQ5hfPuJ5qN82wUyvQdJ+5/zHxdyOiBrXO3nqRFsSZYP4reiGozLzQnUbXqIGTj1mYpHFPoa/ykTIh7146gydT5S+yeSr0PDGRXDr4ubBvzUdFHVWJ0Qsw8D6NZvyt9iKlV8XlznULHB15X+H9wap2UZYAh6SD5KysmeVpq2QN6lWDN0a6a/vDX83SZ+hEMxi78XC6g6P+U0vAV3CEMZT4X+e9CzEl3n43QY3bipHvbdgxscYOkBbcIzPZgRCsjviItKtIq4KRsK7gs3eTee0yrOWzzvDufUEB/jSytF6+VWeQwZQTpxZkjpFCO8ublnHNGVc16Hjgev9YFK6TnJf2wFY1Fn/1ARLDd0iLAWM2q202Qlv0lTaY6GYY8sKH8dGdRwOuBpgFzT485l8FDJbjtX5F81fupUjkIFImGTCkAmJjHG1MFHvx+MLOl7ZTzY26S6hazsx5dmXDcuLLQTqLJI1Ysz2acLNhPBP/uskBdSfDmhyXA2xWyIOFPS4i0ocxok+WWjJXvSt+7tlFcqCMY9FhOT9smV54oIRoCmFrFDeV0Sr1m6XJeBWNoU+UGTmwAbjG3ImECL02rOckoCQyYONgKZv/5qAgUWlQGdb+dIkwfra+Ff8j8Y+wynl2JP0rR3mic9npje0NCPdAdXv3Yxd3Zk+POAtyFmLwbp8KfXP+pRq852JCURNcSk3dh0gexPE9JCb4RCWgR+/euqX3tCGhPzX7MrQMq3CdoohBqj64DD3+UvwsxM5bd00zb2dwPWPAMpk0Tfw53JyOZOGVLVqUNpexUmSp+rWoIGrGUFT+GSik4PNKbIV5FVpEPMZ8/nZGkh1Y/51rrW7JwJ4gQKpryb/7M+upOtmnrhAPzJKzV0RypU5c9pKSVhPOBu4GP9PeE4kFm7x87GqLq6P9neuZZzgADzgyunyFwRDHhKVie7kKDU1VTzmCBYo8lC5d6VF/ZCfnnNe9Z2zxFEyrkjHQ4JK+cXig4nU82mQin/2BoPcT7GNbvnDpdWsETg8wrMSaLoy4ySQwCtXMIPaCnItNTc6EXF4dIWGiS3KZFk3wcWgZ0RR2iIdzYk9PZ7wT6D4Xgts52nX7UdjBB7uqjC6yWL4tO+doFAlD4qAwznnxao7CHGc3EYLT29tgEJ29N1WtDWiexEbB4JEWLudhH23wxSXy7wDyj6hlI/tr5Uh1T+GfmWhkuNAxB8PWf9xRNAKY+X906J7a1rJJ+xu0iBG0VTIw7ckmzpiF2R610JoIKccTiIX2UpJPoUEbAGqC36vxMfZaGj6lUMLGLXhvldITPd93033Si87NQ97FlXnEhO+KiPr7dZ8coJzXUccAET9nPLEqzE35X9CoplPhrIF3RMyqijGdA7NX4AsUv27AOs3yj9sTnXXVlNKRN5B55GGWj17JgKfAf1FhWopYfPd0YOPgRm6Fayickh79Sfy5ygFkfwYO9gca0kigL/cdgG3EMsrtU2wChN52cu2LqB7x52caLykM9cyfpweLzPSz637xIR1FZVSDN/0B6kUiXLE2IhzmyAq2kRpnsp5Xu8sTaELAEgnnSEXqs9E9I2KVZZYy2IByipRHJAEjUMX93bxfLsiCmZQgaQt2QAFLC+CeBOSJhbRNimv/1v1sMfUcsssTsRZBfchaXFJhDYjF139Bxf3lp5ZTKgCNgbsR/xqxPTduPQm9KrLSLuJWcVN7iekVDudAnJa9s4eO+vJN1BFY34GJZf+WI/kxm1CAi5A5oH7Bowf6ayw1/CmUSl14X/D2/x4rD3FIKAaSh3U87Jj/LcAvBWhDPZY9f7Kh2c5hWFilTWRd2p7q3Shy0OHrURxRU7+suo1GCnusS2ydMwry7CWoMuEMokaScFwD3yjfUm9OZ/q7ctyEEfE2g82AdG1olHgwbZVo5nh+NxIiksGjFlglmUCFKIpCO2A34UbxWl4iVVkHCUhtZUWKGWsNa8RSpL03jsHYFQD6IlFczUThUxESEeo8/eVwnFHP3zP5cVymIGh7LZMbidL+Tkj1PIYkPUEkpxT1Fc5ggVbR/z4L1D83FLlXZScjk4PDUvV5B0TdTV1mul41PgvNcOnjs9KVkryX8meNMutEcYzK/KLxJC8KRXPXzoszDADk/8MQP39Nbg1H5iqtZA0EH6dS2QtUlHCLSXOJay4HuycLslzYmoAW05CTt6XJ9Jvve4SKXSmdBQWHoFri9hP4BKWkS8l5kzPFVFx67n3X7ThA0cVLvu1KxuOC01aqDOMTF9ZJFdULd1rn28iwWLpgOgRSR632kMiieiYg//LvkI3iCyLJKGcXH4W8jmMyW2z4FQgW/xKmLLneNRKkdE6hSk3hx1dIOPRJ6LewjL9QhhQo4+khacf8LzxQCyJG70camiJWjEt821OFgt9bO5KKzyL7dFjQ8wLhepM8G3VZ3KF+Byg0TC1+l7tFPwn18Rp2fuwS7sQ5+gSyY2IptanlYoaTURPFKpa8PfzjbKxhmuAi4MyBGPUqY09UNQeCt+76aRGexm0/u1Tamq98MzyphbQawYCrecuuCQ9d4Rz9WFDWI2e8SKUbTUDC8CX3TdvA0MxkZGTTJPQ4C52XvZA4ZDsbuOYTeVsOP1yWo4GW35Q0GiMtZlBzVSF/+D+bGHG17S0HEkDZ+tRtEvWV1WfRAw+3HfbtRfAFviTtdCWxBl0BzawXqvKcprc6ttEXcC2PJY24NLT3iZXV7hpGupugS/nd2B5t8U01uYuht2j4RQ6Ec/TPN9nyTlSTzLFmN/Cbl1K3zsNbsdKdwbeStZudG+HdwXILDH5GbXMtKxvHH1XBq+6nQbQaAtAcZNhfgNlpPlTZf983NSHshWSDbvTrre7+qv8iz3uUxCCju+SHRYhrXQDo5+aO7mFz8bRl1kDa11f0gkUKp/LRFX1xlunq/Zi+lklPNgtcVdHNsCwThe76a7LQZ7PpNA0YBAM1bUcyck8upolqqFrohOEDkU/VYWjybT1Aa/c0DFARV6VD48czVUkPT/pFS6G3ZrToawU4oAALldUVQ/4TttqtoRPXIeA7PTH+zeMQybCv6aZ+DVk2buxCNB2I0MgCh3wJYgtUNsTorKoGA+/ojNA5OxcflXEV8h4ft90foXc+2qD9qRAqTLRAOvc1tU3zovzaBpoxVByg19wn8yP8G57UFCgJTDNCD7piszCDCN//uI1QfVILCOTs7kcb2u2S48YS/3s5X7FZGBwPiAT5BYb6ay9VrpDMotzpskdUOI/DlHrzZupORj5N3bmdieDHIj9IuW6FplEeA6s1sxoGIXM5oMc4KFdR8TW+2croig1YjULw6xlc/B4W/kQygC/Ay/mGeK3cuzTNpYwkiv2F9aSjTIjnJRjDvoDQ/ksecMrVLXIN6nAN2mCrmXLKpUPyvCxwbQBQ85wDkv81+5SQXHLRzHhAeayEi39tzbieB4IBlzlTn5MgrjU/FK+0o5L4WT78fbZbspdxa+A+ajSuEixlwRBiBRkOSRLH1mWPMdaOF8DXEYNYIEiMkfcc0KSsyzNg8exAD49DX9wS0naih/6zOqEwxi+imTnXfeQuWk8A+zBd0jG5hwatRXMP0dq4LBsLKGh5ZOYMhQgcjm4XPwts0JwHp/deY9LYnD0zXpsAgmS8zaqTleq/j5YELuhCKFmHQV/5bieD4VfcTj9jIqsKPMHPF9QXzfSM20/d+96y0uQ1PtL5hkJKDnwfInMQzYs/4y9KOb+XNCQZS1+8ja144a7/8SO16M6m/msOeq0F53XL8FG0/2FLSnImYG5Whau/0Ft0q+OhlSsbB8I2w2KNvVZsMyAg6MVh194whjoqsWluTtxRpFvZMe1ov4C+/9WWyqBywAmCd91UiEyJh1W/lCiPSUYxe2Q+alxGXKRI2UPJluKg3zBrOPefEuFjS+4SVr2NgGSORSxVnpeGVHmDTfCb+zK/5vqGn/tg+I8fe9onqJnBvUkeCP7yU4+rze65gRspo9JQqFQNoFuei6ZUcJ0aVF4Tg/gxzYYHxNrBSBQ2d4ihfaTLO2CJsZKGs/CGJnFRPrP72s/Qr+N1wqNMLq58nCckDcxwgRdZp0oXGFYT+RK5y+aQXLlrUsRRnJsJhJ99aXov5xfkPTzY9RTcaXtQ7NZjVlZirlB5fk1GplhcPNVbJBnV9QfnuKSRXgPTb3C8XUPM/7JM/KI7ROnCkifXK6OcZvt0LT8gd1+xHGqIGNpR2JecR0XBvEa52dGnmmw5Vagefoiv0wT/gI7/XbPS6aI9mvdbtPATDPPyeGrWTaRpFynmBX2+hUCNkgnC6Ci5MNtYYUffyIzXL4UCWkTnadn7csJnpo3uurCWLkO5J73sb4hNXgLbJXc0S65ev/yJqROHjyz/ICP+apsKDBM1FyjxBVoDGnpXNZanAtUecfYAQ7hAuaHw1g5feT6TUGt3F4SHdnoB7urWEECFBNlbZZRt+bu+yFy+ZmG7TZpwNDEt6Y/v4YEmiXpFe0MK5V2JkuusHldJAESaYErKT33x8T8/DhnCRMaap2tC5flCqeSN6bh3+FfdkNG2n4MrEh95EaQdye4lX4I8X6Y281sOMcx4zwJrpJj/JrYSZaU3f6q5xmEuQCcOnKmvTlFjW5zYl79L8Kd3/lEfRSReRPUCdo9Y0ooMV+/EmqiehTuODysOu3Fqa0NoLOPmD9F+Fb8O2+eQj+piMh56P2qIlDB69qkz0Rmbm5bWeAKdyXQeJ5p7Nr07MNpxh9GgIDZJ9zyK/FMNCHYIu1GrhCG/JIGPmV+cZX0VrahX3DTrqSkkJ+RuY8AK+4kLRXSf2GDIMI2GTBFqPgYF8HX2oicGsVmemLwcGk0D4JCH77VGg+N8F9J6YpjKajMcDywbrg+tXdRA764XJkFeqXRwb3dhkocM9MI1LHrxsTYAh89wrP8cbpHSqEc/MvM3X8lQK1rqjG+kkCiS63LZr7LHB8GQvnwpqwzgV/7UqDr75pZlxhDwjGxliieDF4yVLAIohgXh+AHiJGXOFq/YqdRIuqwj3FA5cGo5uWop42a8xPhBXToNnp0FuDhUjPAXA+t4BWAFqt6RTGelUOFrIOggKL24/lP/qRU6ktmrjmj9/g187sQ47BYuf5ZOIS4yetXojmxVxftG/nl1hqFOLH7WobcplhWcJY0VOBEGQkWWu8W8Bd3gwix1JsFlICZLKgipSdLtwPPG1BPSimpfqOFtuiimdIYS/eS1+ChtOFrZW01LWbHDgNpHOyVHLWroYcUsFo2AO9MmBj5mj99C3kpb1ubDJq+fMClhu0/qghJONCe/TT0RdpXEvArBAtN2WPw6g0LXdUDFNKrTLV0XSTu088SH/JJCglw2zrGMrskELmw0dG/Kx122rOR8qbrseSM/kYVu5vZqY5w3HK5xllY/DWwM8/enCpogbt97N8WoQ24XjIrxe6dxbUYHPKw9Uek7jGGWVV26yCRtGaVgD6OjZKo+y5SrozKYH/kq0qpXpQrqLtv2cEiSLdRA51ptB/xvTnbeSlhOkZwsSOWgJHyxEOJjGx/9fqIM+2w9fIrOVfGhXezEWJaIDUQkeaVpNxUU8d6Gf3zYTn4mL7+1cB/Cdipx9bL7Hhn/wUtabAVgI1QrpKqQwFkgVzi7tINfbbrPuqj3yW5Zu/LEWqgg2N0qMuj0ZuogEBdkeKLXT6vva22B8fw7qP4czdBplC6wkNDtcXwUejHeUU4Ai/4id2EyfPx93s5Zp2vL6Ol0ObA9xyRaLJ68o9ijNWuAx3syQa3JTsfWItg25fGDGv6LIsgzIJCSs10dsfQsfiXQbTwA7fGOX4h29TMmlrnhfbN/AjINMM36Wt4Tj488vlHtNfTorJZA47g4Lmd+D0S6r6mR3cIhRBKglTZ4HbjxHx1reyufh1gtfajDEU/pOUjcylRxg9R94HU="/>
  <p:tag name="MEKKOXMLTAGS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gMcPCGrbvVDHAA21UQtxjiIUqba8bxYpIy0ufKDgD5XDCDe+RVNlFbJpcVRItRb19Hi89qJjTD9ipKC/dBBdkNW3cqqxFriNY2B7W3+bXVxpcBJ3WxE9+VOtV8Tm585I32tmAWsi3qBeXb5MtO78ZlEar+3ePvZm/eKkNj3/PmkC7+73A7e2tVVjZSW+pEyY6MjjSb/fYuKUlYdpc2J851EWCgPDEiElWg1WnTjQz/WMaup5Ox8HzXdYPaLQY02tr4lIE0usFqpPEw0kAWDWcYjok4eOt9EVw073UTlngHofjai/ToWfbOdqm9oJ+6oBsKJmgHTVcOIle7J4AIEpuHvG496en+iGEM42uyGNLEqbn/rPWm0HFHWjW0Im8qDo6T8JJ9MWVWo4V8z3dk3rdbfoA2HYq2DBgvzZkfLx9gCBRe86WwP4H9AdJdrwdxn6062SwJZOuuDM7FKpom23pQmAMT8fVEQMZ5nfNHKlsxO32tA24iC9KE2fUQHr43WCNmPQ3UrwI9v6UFRZaJjaHxr01WyN84IaIGAZGAhvotQ+cGVocnPcLjdKmDHgpA9rhuVpmOTiCpcCNFBvgcsG6Ib4ANMZsQKVZ47CYExh19qoxwWNSPo1YIIDHI4I/ASIu4EEwTMbXhFzEDEOT/VhWr8+8bc5m1iTZwyQi5V/Q0v809OEI0PpTK6Uuu9K8tNZg70ktmBWitAuifLIZ850dgWGJyZTfWMALVQrZ5+lR8M1rpcrfSIx7r9r0Ys44VTE8UZ5z9yZ09DkafpeluiUVTt4lvCS72fjk/07CCQZbw7KhJer5LbcO2JTm7+8AeLJIWFJwSuGmJhnSbw5gd0lgL3v3PtOf+wqGOqxi0mmw3xjqeVj4h/QoWtn+hs7tvBTKFZShDE0AxDgwvuiebdAdMXcoRUNmiQuj4wt0IidIqb+d+4frMlqBTVajvW0HsPpdnb770vb4xXDVM630EeVrdqW4bYdm2x0q3+b+qP9elSlWXmMac7baQq5esLVccYY2dyOezz8sY1c2eaieGhhZIjuJabUs12zoBg8lSki7lMrP1U3ni1i0Xhltvz0jYyeXyaT0U/eajGr+Om7kiWBVU8FWYalkdu3nR9AF4X52WIX0zBhqu0Hb+EAtTPmJJhaXu+SlQ2Gyydsbjiu7vEgq2pT58ItcjA7npZg0xrxNqH9W9B4vHm1vuNQ7LrUn3Fml59hn7JKZaXQ7f7RhXyN2+VqNdpe5WEnANPQ0FnZWqjkTBx2e99WUypKj5Uj9UAl/4deao8gsRReE+dZZlkStvIBYuKYzsJ/dF6AVekHviq/NWXCuKzEHYGkdNbGKoMhHmMNTBYESwwBj7QrbK93p90Pfg/uCHGzz7neKbB9o0KfF9/ZN3rIGL7JFsXZ7IhuzjXEBgZF7BeaSt3HzA9eiitSEFqA3T2a0w8SS/kilaY6BliDzvwvws8bwOaAZIYAC/uF0b/11p1J8xWKYxZMS11UdRFFVdqLE3JsVTZeTiXY7iQNBdetg+dR3gV76TI89YUcg+v3OVuVRDZ4WDRhgqPnRXNleJPUPMNdJ0/YJG17E1qWwQoIjUNzbZsSAeZ5epgbynL/bhID5s7RbEic+13zifMCGAHklvqgGzAt3+Z5Rus+UutYvG27RJ26tqW2gFF1o+GJ0JWy/T70yod0qfc8+349gm4Q5YBWiL8QregrtyxWsvdPbXqsMX+kE1TBcgcBXp2nGsRVMOvuI8XguseXS1lbzYyjr/Cy6nVg+vmnbIRstXGHiE5O+UaAi6f9RrCOb3waKOHzdRaGzIeVswut9HmOfFruTWNzHx/gOhmY475o3/ZPXrFhu2IJmXJnVMxAzg48QBbr3UcjMjV+hcxSOrRgqyTKNaCZksWkZ+gMoxJAsWRTPdr3vdvk8lZ+UKJ4alRqNRzDEfC1CvE+MznjMe6zbzQXOGUZulSITU+CMk/uYaR4UpzDyuRCpBiQfJIoiYxyDG53JEOwEVYC4GOK3vjXd0TlhLGnED+rRIb2A0d550EwrjD9MF7g+Ip8LuA9x44OsFnugBOFOlm4JUHG7483XgMEiIDPqsVrH3LjdkmzWKKS5LC2IFeorhFWzp2lM00C2Gcn/mXUd3TESSIOXOif2mbcTPgsqB1iBhTcvS/DU5uQ05wHY9vATGXht+yhxpimfdF0wyR8di4Obq/4CMyPa5t3/qdlu+0wmZcw35+6lJLPUGjqBxDbLfLKjwqn6tnzAvUz2aduEHjWGGne9HD/7hsVe2DzuFGxntUjmQ+ZIOIFdpwQ0gzV8P0JLeYGBKQKYLTOydkrR6c1DqvEaAG9gYqTA96BEcb7Yc12vOycY/cUG9ly87j9RaTC+9BeT7Y8Lv3/wQqtPK4aCiRMNxWW5pvukDVnVq7lo86pyCKpaAloY5xZ2DlavY7gVySAhwdKcNA+QxV/ATymoFMTNOyRMiqks9ED/4TqfKSop+9gEmPmqNGRLzRiGtws+dR5G1lyKbH11PtgTm0E4rvC/Tu4olOYsBAqXIktowBXk8MPXn1i4LcUvbMfUF5PT01Cr4zlNegqOzym/BlpQTEKOwajkN6gnxgqitrndz043fs8bYcwv8k4sQQG7NDdVQUNinWybpgei8DRhqnQcwbQuqVStbF21p4gl7eVKGY7/jQAxiWL6HdfC92bzZPAllpec8tKGR0YGrKwPrNbtqSUJh8i8KYed2aZ9ohoByqeqh8yFVxQdRIsPZy2B+XQivJifIB1SVJRtPE4bI4b05rL7s+MG7n44NPHQqFmabUCiHhmbynxQ2F1f0OTCzlmrA5I2fm4xmdaaWpTBu1poumoKCVtwmcdRdf+z76yoqr3/aHancvZjH9ydkoM2Od/cBfej+EiiPBW6V4kLrWERCWY5S49K5Sfm/UR4LFPodSPvAWoFh6I7JrvFC6g91H6lyXHHuoew+4HdbJXv9QPQUJ4dGKW4N0vH+kNoBFmveC6DtT00KoRneP+YzWZH1z9GH6FO9reUDDtQ0ZjW7sy2yC3C5UH9kyclY/wTLRW+8JJ4FEhAWasLMpoKfMYx773NWX5gQrQSExZttWrR/LkdnzCM8KppFTqYrPxuBC0g9MN9rWKlbSkjHXuOeOXsAOAFpF2/R68QhpSh9kkYs1fkOAsDN3ntinQMmLej1uCsuewK4UCVO2Gh4Ei9VUWMJViK7nz8kmqwtBAEhdgLk1lKsoBkFEnCXBDkIl1snY/TUqTCazxj7xuzwDtDvZwRl08/wYHXGM8b+car/jMO0yA7i/qwbp3DnXGhbBR35oSUNtkwK/V3X4+aG9z+kAgf3DKYGItU5RcqHaG2jiG9uAenjk2dm6WdEdcuIlNRchwdcJqf1IquRW6iP1HAystGukA/pkelXQr3ylipRz0KDbIhTqXGakZBYqtHbZytN4ExONTKa8cllptSued5kkZGXTHFZ0Tim6ix0WynuVR9v4/wxivIH8gJXrPBDuhyn4Pbxss0NHhMZv0D/eVcGRgfAY37Pgc+2Zq59V1Bksm6wfhc+2Biq0rh4n0cqS7UQ6onL40HUl9R86UWwhZMK7bH+1Jsj8gEYudP8dyYF0CnWhHp3eG+Pa+Pg0liy5Q0O/E3i6RDkwXpVF9TyCKOQHEB9VYOZujz5kyGSteu26464jmZm8G+5QZTEhKigrI9fjaLGr84+2PKkxqdvStxyWsS/POo4QVO7eZabm9uLre3ooplzT7OJDGs5GAvTYEHxekTBnyPQ8F9k1RLCvfJfyWGQ/wdHtDREyce5XAMgee6KPsEPVm3vFEXzjKF3khIYYab59LWx8OSr51M3Wd3BCOlvStITEyVxsxnW3T86neC83/lSW52o5/c2fcMMy1wG8xTj1Zrxi8UI8ZbQNlHBlT/REEHSevpkFEUf7XoGr3NKT8lFoA6G599Ju2A16rpOixQRFwW0YWIEwIUhDG4WI1NXNKRyYBly052UAHo6BDw7vR4H/mFH0/togVLdIldh3przPWeqAiRgtmg9nXKeTEcm+OB0mwFiiz++NhV1+i0mko6nLouh949xNvg9TNHc0rEBMkaJPGe6CLjdtpqQqjc5bF8ca/9HSv1SCaPk3XIUVhCqT/hTvnCmtuLQT5NLjZDlMJIRf6SHL7nib3QBFsFf4lhYoKG001zjxF2PxV8swEv1NwPyCBbJTnnmV3bDjeL6otCCtOoheaWWtTUbImZxW1t1qocgIj/ztuAG2Nbx+18EL7i+OEWWA104TrAq/yJiozhh0tgUv0XsbCVjfR8e0Ay/gAWhPVvBKCGcGUzS4sOmTGywciQ0dwYGzKiRjdZdCWV3W6iMN55+bXFYWII+JvxsZCreU9/PRSzyvaN8mp9JGY16dW2SciFGnG5wZZlqtQVjXSw1+yyyaa55CY9k0kdtkzCQBruXXXQ2H3CUBveWWiC8ly8qQ23TPwxvo1C1MCgp+jq5ReEJ/A3k2ThlBf3pnduWKkYNRDru8Z63SnMbvaRWtIEYHZ0Wpom2AtMYhJ+bzIjxoP350DO9T1ogZ2vbi6yEtF0b8KR1hDkZH3IepL6S/5O623GgCpJK8fKLpvPPdReoQrIZzW9cP4NfdUYoh/J8Ex2SdwTrVtzWmja0juS6g+y/yuX2dPfedYf0AXNiCSO2bvZzBMaSNKeMW8h3DjEH8NdFP/ldnX9AIz/rtp1f5oYjsiUXfbMo1WgY6RkLzTIeUqzESyyvaclscYmqD2/hZaWJSyirF6+rnYUbvQJ1A5Cb3pCk0M8/N2JA7yG7vxqorFZ032XMvBOG7Ut7IdAcF6PdhA/YC9Ak+laZVrua9CvJWddlM62OKY+pg6/vsKSOyS5rBSgZDLmsRiJjah5tAgG0gj+XyGQ53wFV5Rjjr2z0slW+yySQ628Y9lnzqWNOp5a3fD+CKIPdiS+mZv8R+Z8Iyjmftinl/ecGanHoqQfJlNsQLtjolAVzPPvCFdeKh/BPcr10P/yVq4TAfvDA4m+bK4sT/m/hwVizWEQVvxQvEm/jOhBzPNr8vU5rIYdRklinIHEQwc+tILCaJvgpdmcfpbfSiqCW95ii2VSH9J3WuvqC54hfAG2toTdC6EKIGu3jBVwHORf7VZ4H5dbI4Tn9pt2ILlzVsSaeW/iLZNC8Xz8JPanyP+xQh69BlMt+oRf2tdt8/zVrGdXJMbEQRyVRV1/3pFXRlv8J9ODQdVbe7v0Z95dfac/Iv9qYK0LRQghkS1RvbaDLfzWDFBsJP+OC3/FeczDO1XlJhQCeAwyEZ6kfAxu5QSt9tGe436T7MRuKC3l7wHeOY0qq2Rjue1L3yvbEdFYmi1y2mEnU/SKaczsOGMWI8uIfkxCLrSfD3hK2AvjVHM5tTdIIZlJkLNnshhz5mdzfy+xBrJ+4y1JnqjrmjqBml/k2JXfYYPg9D9kIwRxDSpzq4Avbdx9NMrDqYz8t9Oykv5bP1pQyv5scjXQdFfrvp8T5iSu/LCKoWvtRKLVJtc60na8ZyFcphcmG5Xz0URGfclgM6xV15fMKEMd1bFo4GOABgexspgdI4K+wAOr2qm6MMmBnkXI7Rq5RJkzOqAEyBi6PWE6j8O/UBSiVqmKDjTjxq1VTfNPrqnIFxxNGmNcDadqnfNZ2u7xEQamXsgfUxeormSvfNm14aY9xi6dYePhqShNe10j9RnWNvxA2vSVsJCW5it/pNwpicqa3qqan1hU8c9TNx14OxHqv2WImjfXTNE+w9XRkiiqT6rJZMYJfYfWhQBmcPK6Ls6XSOZS5BLCDn+CdABnD6shYv8+ElEuDSOtX9lJ2jyymUQSh4dVI7C7ZAD1lEGKhiCbRl0ns7HvQBsgGf4YVIdYJDlDxiKgf5pWv9/jRI5qkXuTjRK2tIBPRgiPxAzhi2iTpp4B0RLEyWziP5hkM71jRnRHUR1OXQYFJIfQiom13YK6xmm+l5eqcydSSkS+Vh6qUI7pvDWMHFmkj5LF41qGQwhSKv2ABca3Y1zqf/oelYJoTVmkc6MLjKDn8PsfJcbD2TanHNF0OjN+44L0YD9nVpX13wUcBZ09GWcfq+drbkqA5LeULA1UAp+kYU2r4JpWN3ZpE7PfvWP0FHQn/dAUc+D3M6f13/mowKazFM5emHd5Y3gvAW4LYBeKzhdbwuwFR+kiJiYzoBX7RAijug1qEm3kFnoDViqEI9y/+gU+gVMiuykEXLOLg1JcU5u5USsnj39khc5qxV8hN8BO5mZjPWNJi4wshKYoVgcZoN6RZFcjjmVxu8wqzVzWrhUoGIkQCIvHyCgdYo8QI043Weye6qlLn0UstwhGRfOLPx1cBBTRsEQso4eviBcrKdwYebzZfoEmRcJbZN+Eh9ApFKQk0QKp5v8lDDrVyEFyuGk9SE4YuYpJGktv9L+Jic2YdOBv+BquesDLZMvHGX2QnmZQpgjOk7MvPwv3dTPt5IJGe6xosRhXnmMe20QTsDbeMvMW6/XgBA0xHV6ocfPXi/PvbYrAmELxL0dlkzzHL/EC6mF2+8kPPlRpaQ4bnqwqUlqv4wJKTkjovZngoqHDWiSPcaR2MIx3A2huL8TmvfVQaEozhlA6oTALPDQmLTs5Ajl6c0ad7bPh75QXWuhFlSIUxhdZZwlM4r7+nQDytzu1W1C+cMvIm8gowr5h17oxGTmjFJD5XAy/zE2eO25LMJtFCvAKepthgaD0tnNBh6wN4d3KuTR4mC25AAJJeSu/kqTUJ/H1wSmz/uQ7+Xa2E9wPZVyWcQK2afGD+X5Y9tsoliQXi+Uv20fZlafyvSlMqI6dIdVQhGFS/oSsWP4H580nvjXIvB2SQsOJxf0oPPVzWoBgKDvG2sf1uRn9oyD7U9oTAp1AkaL28shYYGKBPetADaxsJCAAY2o+8VsZ1YFq+yA0CNgKzaa8zDKR0h+jzZAF24KyCRjQSixlwJlAJCaqgD+9JeFrl13+OzrcEz3C4ze7JKv2mCvtvYHx8zcwl1bNSxw2Ky3FvQqlC8lPviL2K5IoquPzfuxwtmcCU9Sq/Y5iojv+f0W8eoSLOkJA9Ss5J0Ko14e1J01zm0Mda4+STmyz6riTMAsURPZiHQ1Q9za0QPtuytcbDk2I394Uk77SsagxmFGI8O8mnuxK8MbHGoO6fnE5emrjPZsFLbVUF5/uMKShs9UwD8juoFyzB0KkrNanOoflmNqIULxLaRbc2PuoXP2ltjd4i+qdA8mT18EtNia/xaXmZQbCkpUR9ajSk3YUPiOEE3R9ye1fyuIPRUuVPhmn4D51GJVTb5y6PNEvX8yichHbdUyuHINPbVbw2PIxawPMuoUDJvogFY/vxXuX68rJZzdPC2eJhTibBM4GPMWl41YX7OuSX+ndwKTrT/kOAcESMUm3D/dsf9v4WfEKCjHlrsd3EYlN2RVKOfuryszWPbeaHGM3Qgy80UyBNv1imroIsW9J6tJ1ufsnOw6n4rhgNjGyVbFYjZXCHY22wMsdK2M93Creu8RtDyRCXJzIZyI5pTPz8KX2zN1YVkSx7qNBfKF3pd13HWucP/LlQyKNyy7TEL7SJpUbsdsdXglsJeTGbRh8PHC4yCrsEsFJpLqrLh60xVdoAjJO+LerubXDo/jS2nB8oIuMESesziUCJGBIbLwyXyDNKBh8lC1/WvVApCUeW1qXxOnEz/gM2Jl41ZYoKvSjEFWYv3bnz8CM413HTNN5tvdkc6k1X8ymlM1zQPRdcskS6zoiib2+URLHX0hjexj1I8BAAGRBI4pGeshYQexjOewgBrVydrR1GN2RTgQG6QFmqC3GdfnBQ3irEyid3fHeB8e+1amzUkrBv4pswFadVCCVJ28hgxrrZRqXoZkSvakT0k+2PO2YbLcGcbjNR4F7VvhH5boL+iRv2fIC1GFRW0N65ax8spUodGikOvIcnxD1pcj7EYYyyGnHlJwBi6EolaOEy7nLTgm34/Yfono3DAPNSLfwDKonYpQggcf0Ux9IqduDIqXOz8oVwONOU13NTQgGtEOKCevJDlyIUwQxOscXXo4B9u38rwurdCFz96cKKb9hCjthlcfFoBTFp6QkEvFqwdFj2IPoaZcX538TTRynBH4YxYjnzk9Zlq23Y/j1hWdmTMaayfVvgkabLSGQ3PlGihchU4XqXA24uvYdLlyGtrI+RfhujOp5NzkmUr/yzyJY/IBx7NWETUaf0TFu6udnfBBgIQqfNFr0FT23yWMngEs3GoNHSV+uKCd94rSAkcxZStKN8vXk5m0UO7w3X/06xzBX7FIli79JxYKrX2Ul48SXwI+S93b7jKQzeDeyfEH9fp+T2ZSHtaYOpsRbUiyDhQctq86jUbpsYHvjGcOnHbvj5D2CxmuwwCA7DlqGzIrvguJ3THkDDYy8rD7DvSAbdUenCJIcHlat7+C5srSaU67Njg1G9prB132+jubSGdS0s5oH2JgMX2bqLnmR6l+GW/aCDjRW4WIH1NfvNRUei+ncGArswRnCOe2x/sZ1tWw9Vy/NrvaA0JDmTXZnByaOjyKPZ27ROUifBTeP/nampA36yKKJoS2/q3bMQWo7hahpLlaCJXMvUYkk04YWKJBCkM4PIfEMJOlEO8jb6UubFO8MY/QvsPZKyppb5Tw9wSapdxxewbD5zVrYeI6rT6D5w1+XBpV0z9iOcynXGk/fNphm6EVLCz0R9CaDsS6MrCeDlTTnR1gChhYdTtzjijd8Vc8sJVKE07NTzShHUXOaqE62d0BgcvbQsG+3ZWIdOJLB37byhcuu3Ub5MvRO7VdyuJy474MG7zoCa6XTC8PrMTde5p2RwWIqP4GOG0sE2PrOPOFq3R8rOTPZQrsl4AY4OfOnKEzQ3qF9BYJcjBNN4lzyXRPrPuU3H8LyQsXj23RyYa3/QhUr0rcsoZHNPAW9Z2pQDkeoHO3eCDEg+r0q0/uo7fY6/L6+cv3Y4mpuhkVG/AbmGY0R/Cw2SxUiX41rC7lzwdv21aOTAUd2BB1ASryfizum01q6IZLHI34GsPPmA5CJJ27n+g7W32NFFLu7bHjN8jhujFJoY6cBxoo/Dr+hkauxJhsTFraInZPl0U3KnfvmtEDPEKjrOl9WhFDv1i3vZdXFiAh07tevOT2RQa4BFz5i0Q1Ad6P8SxdYFOMj7poJdR0Vd8/FpA8jK+ybF+rnMrfsRI2MLPHWWXUkdrk5c0IYFR6yMPnkhw7wZfGsdTtusp0ORbWlJkR9FM4XWFYeIjTJbLOtp9nvQSWwDNB2eIw+zb/OBfDrycYHBzSgGCN3FVUHIw9W9PblmBZnLG6RBbcTw87BQL+FI4RDDvKELZhhCB48e6foVpx3ZHK+QX88SwttAOozKZAW1HNMHMJN106SwOX8XL/0cD4vgCl08WaRCmeWSY0LPDR3FreO+B6eVrHROEb8O2eGWyvmJFnlw8PD9Q0oCKHeaOMGSuc/O0Jn1ntgu0/5wYhrPBl6gehAqkiNBhA4T5v63QD/aw75vl3VZtCzEMCA4sUhgJaVyaDYx2G0LQEb5mCylT//zvyReMxK77nyHIt1DWby3MCxDQW+CZcc2cKfkPxfkUdc4PABAdYwG/IZ5GiWrucbjwkMkqplYGaN6yDoNSTdBVHY55IvpW1+Yn+Hla2kj8Llx/yIeU1sVHc1njTj6rLH6vwSZQfsRK/HPI9CA0rXYKAjsBCBUa/NSA3AH0DGyCmQZBPgcqY5TEJik914ZdGpbFAhlaIEgnopCBSIkLvFUdY4YzI4BP+4vokavJuSc2OXYr2pyQAW6ELp9Bf6mPx8y/K2FztYEiw9H1oJsglcFCNLWkRixNRU2XNrC6vl2b6TpSaQE7AraVZ+hJ0truR4YwxBgZslfy0UbqdadaiQ3yVlwJJjI57a3MeXlceNAt9kVAJwjJd2UPI5Ri7gaajfOFosCgLfaye2NIQOZUED8xVXidI9n3aZcZcOfkO3k/zYeU6C6KWD+poVGpeNojpswO7t+v/krITI+D++gwF5mJqEiU3xk0CaSeWdm1zgyy20VJHqbztkJFcmo84rwVprlSlIWTnklh2uJ4bs6Sxv3InW6wH0qd6cJQAA0vwkdbBziw/mK7Qk2RtjFN2ptSm3KhDw2xMRB3mBX3CoggKz/pWFVZ4qTrIJj7Smd2B65n8PtukNBhJPPykwU0ZTEU0wkLFhXUoGjxGhfVvRUJ1l9Ml4eGrvECNkJ1YV4e2Nja108Z8Tc/WYjiHQC5wI0Q2ZqPlTZC5CopRZWKsGFmENJNL6xq9T9Z7DjXwOBfl6ZIhJymcBAe8QdzrU4mUBfn/OHZKf2cWvRNhOTSNH8Ft6oveaV6Bl2vFsDb0KmXjmDqybQC9hi8JmNxPyDxZaEBwwChEaJh7J12bwwpByiEK0IIHsE31PGIEwk4ji4M0il5hH8/hRDX0d9pPeqj+QvIm2EY7UJdamJelfkXULZEpHRJxQbgUqewdRRpakhBiZcTWIxMoZM4NVeSjHSTHEhf+vdV2wLWR3c5+NfTFnRqwOfgP88n4Ersbhpa9mU7qDCTjhMx+sx+NdifgKpyxvyFwLHYAoSYV8yAdaFL2hhuuSRaa1P2pRQoJUo8U9wuPO2gUFwCnxsitO62PfjDnOiCbYv9EXsZgMgwRmwIYl7a4zM+zB4HjjN1V72gsM7doHkxuuzqgEBVM+hmGcVkq52oXwZHyie/80bjHDhESA3FK4oLf4IQYPdmX908Eorj4hwwVX40xZFXFSWWsu4MsvJHPn3TWCKm5DvIoIsi/p2b6eTxyV+tyF+LyWPXa2VqOjxbu668Sljv8TbffEXrb/JCzsEumHunhcqE0h7ebhlIa6q41gBTswoPyJE7lWBzn9VEhj7JhkFSG3qJUyJ7mNPRWxrFCLzIDlEBkn7oTXwGpeiOLQXtUS400G5wr8h1DO+NMYRSGGH5UV5mvmnRd08F3SqFAiQv2SbMRFyVk2+zE1Pf1HTofVNvFtxHgiXW3uYk/AzcrlWjOzMAdcN3IT+jOoEzpa2DpgkYOgatEHL67VJpk914+YYdMdfSojBi4mhX05PUPHJWMKEpAmUFkyQhVbM+bs4lavo1FZib4/V2hzlvaO4yWj80YmvU00fw1N3n7V6H0GDNVQ2AdT0oULf6zLqf2snUwhzBJySrBXiVTrjCAMrZYu+Ja+8RHDUZ86Y0qDbqNnwILFcGx795xXdaKde6KDTwLCBWC4pLzaJYZZWt19eNVaNgUDKECEVU+By+FszFjyfPSqDICv5gCrOsyc81pPmK2kYIIcxyEtYW5WxCU/qmXW7hAVEWrsC46Ha0y5NR3PwlkXZm0ztardvFfF9B8oHfxQrQByuKwiRIM97sZJ1elcaNr5AZymZAbzk++oGhrGH+/6IsD1Edw4rDFg0h1tqfb8oZ+0qXEIdrQU0qgeTz3w6AGt4nzUAwk2MgJnuc7j4LB8vFQOU17BptTPMZV7Ft8OwJzBu7oBbGwFn6ExUCNYZZ53+oEQ7U6qC9BBqiDMLwisvoKNNGV7QVmGG+AehysSnQLejDEeoaTgb6V9m1+hkpQjLnPTIhZiZT3WTzzRPSLVZTgVhMPfpOkc+rfihJ8edaEzpO93RR8SzduxbA8tniIEnZkQ8Qchm4v7bKW9uY+/iNH+RE0vYUBB/LMcGZxWJIdbBEj+pHbaZxxTghG8wd4G682gW3gTxSIwgB+5Mlgv+0B3C6C6PehfjW7z1HEwwiq/QM4PGbLQ+VkVyCgwS24sNGq7tLgkI3bKNDmSx9KgseCLEE1GfvNNrii0NmLi1YT6PhItPojhJz2lZNuaghaMDCnM11eZ2R1B2CvelXr+JYiZoUlRidUJEAf0L9+gZMbDjfzfw8lfaUgMsi5ewmNu2gsBIiAUIrg6iz7bw5u1Xkiu4PhZ5aubBtweC/fuaK2Yg+0YTDYKIWaun5NkJ/Y7l3iI1bvkhQP26ODUAqMTAZ1ZwmSYsWKIy+bk2mHNGqS35cPl3QhbHy7Uzzi9RD4gACBEVcOOZlxZFxtaH12QBbEskXyUWCFBXn2X1N11t9Drz6EQdRs254BkFhGqXwXLMfMjZVtJGUQrrLgKv5jLhfqxspgDerwWL7fk1s26a+iMR8bmz6gMigdqCbsld/xHahc/dVoPxW2qinSFKIVzHZUXncKYyZUyecfVdYPs3mCs0SPlRopC0udp0AqpCDa/Qdw3l8ZP74s0vsTw0miDByI4bqoN7UJ6Q982NBPWv/i9umABHgydWLREzdcY9jDTunSxk8ohP5m0xDKZEWtsE5cQC6sCVtpGx2zx2vdz35mGeMXmU3+EbNENczIV44WnXhJ3oSRUTPH34DjHdiF5MkHiy9TIX6hOnwaXdO3d7AzLIuMxIhrZa2tNu+ReC3GaUoxuaVcneV3rMoUYjo1+i7fceBfBC4q367AdN2QR5QCmJRwKCE0aJzMIT3EXerv3v6ndV0jG8FTUNMvlHZOu8N9wIM6oQ6pmIHsvVIUefbO77E5Ij/nQKAPlxsszT0PKp+xW5jGQbsQr4d6d0N2p71uNwysZekDHtA0vXUzEDwTB63V2Yf8L43x1y9XPSAbiGxCKaG2m85cocKmhILjhr3OgAbDOLKxP7/PUvYdW1ZF0n0YwgbrHFU0sEJoU7oyP5+07Zw2vgHQ4na6BqvHcwW5ghm8GM93HbWR+PrBLGETYAQBrNIZMIfz1PcmR6Mw3C3Vrcldz/j5ZPj0tqcUvfENgv+FmSdVjzqHdi2h4ct28cKgx1rZBlwfwWSVxaYYMAhOQGNZpLlK9HXw6146WvKovRxpcZT2386sPKweunNxf+qCcE1dM2EAy/sQJbjIAT52fgw84/s3PerjZxl53Rz8Gvq4mkWpKIEQ4LkelZOD+QSLDSNWGIGxsodcWccoxVreXMo85gLT2OOvF1Z7QUj6oAOi7z09R/9FOIuYsKALrIwLIlKuQ419904IKGIjSpJ7wANQ30zz0mnTGoa6SsCD+qPmw4raQaCUucHFHbYD2fTFZARmQjFzpECY/VnPQQiAsOj7xWH9v5xj+J98EnK9Hs+5B24Pi6CppQAZ4CMIPNman2fOMen8EBsMDyBT0uoFhwu5tiW01s29Rcr7m1KsQVptELVSSMvMzXLKAZvWLS34q3YOASCg4SfkfgIacHOp292MB+LOWUxbF4v6pHmte3QpumsnkXmXtITKuyfJo6C95Wqv3vpSw5Pksb48ByiXDIl0RxCisYTFGAycejfMA0zGGnmM+htu2NGOWpmLrh1rOPO9bgka4zjy2NMAWPppthPmaqp1KIlvrpXittztPYkRtRCxD/6N8BXUCq6WwiFdPFt6sz1Hz/8d1+6jQpbfuJrZy6WYd3AvMLakSR8DVZX+SLL01EAfT3r1Fkg2SqjFbT7fFliooZgn87a2tyBemWu/Z858Zk5zdsdhMQtLF8bYCvU2/xbYld7QMYfxV5zf2l4nJWOFG2L+dtJKatz5SCIn+N9RVRq1PhqSuWxlsM3yLzt6y6akhmjc55BwoFeoSuHmeL054/8/SGiIawkysxt8jyJENh6PWbzfmROqC/k/Fw4fGhjbP3F9Q71ptCNF8GKu0Fv1xXo551nW4u1j2mVNrWywRMxbAKU/elFyJJvR0W7UhavuRbsK2qtfcA5fmKSbofNI9p/iyhLr6eL4kp3HduAumT0CsRyjcqgEVw+vlZTd4G5XD2nAgXa3e/XHn2qq+AcaCtPGgA3jw09yZ3PKRn6458RMrgB0GcZb+2uI8CN8lT6+s1+neoFoRFylm1KClmSKfKngj4TJS9RIUPDQe4N3qp03i3kbka9JdCcOwMCbrVricc+3r34VyJMLrFRsN5DC5RRjykJoqQX4qmWR890qWOMQmwYK7HLbkNmHtZ7HfBsOZl6iN2QYiii1lEhHNEUST7jRlciUShc6cJSinaTgFGkLll+D3LkPHDgmQb3ygQ5B8JsdnaHTatGG1U+kpnf5h1j9a8zdvxiK9MHUTTGK04CifjMaQV+kQ+piWvE4xAhdNY+vckxzm8/zjsd8MDgphHIsFlNRylyyPJqVOLljKrMUJxxamsSMecfvBWHuegcNAzKW2+ToQ5ppYvUv4mpZ2/MW5ag/DCwwuCdXFIw2PZy9PGtcw1cfseNH9hdyWE6uFCdENQfGn/Sluaa9w/XDEsMZGktbhLhjTR+5QjIhQsdLPoXrX3+I/roHFQlIIqeUDWscs7854bwEe2pW10mzOhg4Tm0rA8ZwfXa5OwMwItFGfr1prvpJz7MMh8NQvOrgVQ7AiiUtBaH4kOKmoxEA5YJ72ameMxu4FBPF0x4C3N/9KReWjod0GBSXDgV49/uT9Rq/faLejFOLJj5KBUTLELM1qK5dRR5vwp2ld3S5n1qKDETJaW8+lpC2JOOi6SqlyR9941sf/cfTbp2kcwr3s8M2RJ1gJUL6RneCDHzY1gHmk6MxwUrHxmwH6XzKJIb3X1OdLFPAtX3a8ljitOGR2AAOrBi8TVvyP23oKzjO+cwKeR+JGZSwfqoZy2WbgfntZJhrssDnWKvTlAU+jVG604fKtk7jYN7S2TfIhwqAvCGxieInu173zPw8kmTygLl0k2dbdLQ55JEvhFftixGyQLUXleahH587LwCq6SRReEGcN/yjYN9cTmA6Jpk4l4cs/AAA3uvU1iHaIajUDgVdikK4lYh+XXqHMivMY1/BP45vQllbdSEfwpY1ukHjEVbWwzzTfZ/jtk6QyRKN2d4LCmcMm4M8f6tf9ETSEFqZx4nDUPnbIS/G97Rnxi0oL7Vk5prHrYrL3FR+PVS8vrlfEaXvPvjMkVlJUtafkUp0kYJ3x43aSS0KYl092KaOSQAmNP4gv9wla3NXE2PCqEt4VuaBoNUE+7dYkxfNQozmiyf7teEjaxitgRgzyqLPrVd9F1eeWwCVDtCjP2MvSV2iJ6fxAEuGy0w/BIN2sWywFfwtBZOEfzcpydSEGE8ova5YS1wFTEZtixbd2/IpcegkfNKw2nmEKJCUUUO2SlS+kpUBL65dvJ7sAKriQYfedpBJQQnkSeN0TqSH5TIwEyLMq1uaiS6uvQXYYP/UtRdMJVk0En7yElXA5xnvDfLapA1C7yPH+ekJjmGKTaJ+jBGL2jovpk82fZORWXJsfK0O098vhdo7yOuCW50qQxchfd/V+WNfR9ULvlHjSzyYtiz/ujAZQSoVrv8cgQZF/4lFM61uZKm58olk9uWuok8p+ya0CIq3njYJ3L3JBGkJcAYeZxcwNID+uFfeNLdzcawGh1qZeNlkSD12AO6nOWZ7tJldMdWMjAtsQ5NaWBaVCYOrVyC3VrG1VQlq75mkbWVnenM2nBfpGl4lirmEhDJaskGGbJwknQmJCqNjfz8vAwrIYSz75pG7dkB/96wrdOF+5ttLJ0tudnBo17I0rN6w3d9kGbIdS4UvC1ooj/+5/EFeZQnxRAmtbaif30szLZWajioKZGM0T62+pKdSkvQyFJCJ68HZISREv9urnYKetjgaEe84GGfv6qVshFbdCO88ZahxoT33eTsxXh9dl+uv7FbDbTi4Yhg+8PNIBT6nvHsAFB4yL/D7+oK56y5hRHBD5rTbQJ8hjduFPDLjHVnB3/QtCFbB6FAD4XHIF2FU9lPa3HOoEXOEcUbwkeQ1a6XE/HKgvvXRc/BS84BZN9u2vO5NexU+PeCR9DaL2/zr1wATR+3tjh3yY5Mc/4cEMOwsWnUZjErYMHHujNeIJXdQJjDpG1GQ/gLw4eXUNLeGSO5Zgz8LOPmZW1e5fYjMS0KDmjQlaa76J+iQ791AfeIgj9gR0FRsXpoO8vEP8TUvWZDwG54nzYy+gGfKqYqMlmnz5sBAfEGHmcoQRN66CrpMe1AvlUIzJif1Uj2Ynh2wiCJkcjD12xk9T9SaTbN9vd9Wa3atSOLPHn4F9Xg2Eri6TnsYC+j1HcqJNM7vGNO2E8OJnuxEV2RlPsKVedZicySgEgxwOnvBHpOlSYhuwLW1HJNEqtQ3YARoQRrKDYS2OYFnZSjNO97dpp+Z7+BFlLBw9qht/u92uHnLwlTxbXII7yrdpqzKsrPCe3vtI0uxxTkdPJeKUpOfxtQxUchf+aIQBSRaxLKjqQdhEiuQHLjUHuRo8iZ9Uq+mc0vkP8mweS1qecf2lcnSsWRy6wazJFzvu5M/hfq+GJC0UAnQFaj6Yqx7Ps0fpRMRruioUp9WWr9yn5DpBL8xNBqG0jBdr1C4wkrVgop4tn4LBAB1TNNwiw4SO7guAA3fmOTXGC/jWUBcVoXwVx1x9cgOFkQe3vSsodZ1fXyxuRvs9e7pQMt11KiCatt2FewbKqgMiZa0E67xfEzZJ9IiowBU1IxCh4uPCcCfOqyHilXHJsmckDG6dZEN6i9zNrmS5NhTC68pGN6wl8xDb9g0ljmYABjlGErdw8I97a9k8lZeSFz3iqyGAkW1RIj/o8yYTXX0/lqUcLyYXoDsd+PLfdmQIN5hfSOhw70faMx73qNKSzGirogv96cIxPlcbQgvoe2HrMHNQn+wFzt4sNSC1FAgXBG/Y+rqfXhEByxHHGUXowvoqnU94b/UomGVxy/BBtbEGB6Sj+/JRWok49xF/zOsUkYinp7pwGqhYplyb+wNe82rJZmy3gzFL4ylStCKSTIBhIMNaMPdfI2ANmwcE="/>
  <p:tag name="MEKKOXMLTAGS" val="1"/>
</p:tagLst>
</file>

<file path=ppt/theme/theme1.xml><?xml version="1.0" encoding="utf-8"?>
<a:theme xmlns:a="http://schemas.openxmlformats.org/drawingml/2006/main" name="Presentation3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resentation3</Template>
  <TotalTime>6150</TotalTime>
  <Words>1167</Words>
  <Application>Microsoft Office PowerPoint</Application>
  <PresentationFormat>On-screen Show (4:3)</PresentationFormat>
  <Paragraphs>276</Paragraphs>
  <Slides>14</Slides>
  <Notes>5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0" baseType="lpstr">
      <vt:lpstr>Arial</vt:lpstr>
      <vt:lpstr>Arial Narrow</vt:lpstr>
      <vt:lpstr>Calibri</vt:lpstr>
      <vt:lpstr>Times New Roman</vt:lpstr>
      <vt:lpstr>Verdana</vt:lpstr>
      <vt:lpstr>Presentation3</vt:lpstr>
      <vt:lpstr>Bus Fleet and Facility Program </vt:lpstr>
      <vt:lpstr>Problem Statement</vt:lpstr>
      <vt:lpstr>Program Plan</vt:lpstr>
      <vt:lpstr>PowerPoint Presentation</vt:lpstr>
      <vt:lpstr>PowerPoint Presentation</vt:lpstr>
      <vt:lpstr>Recent and Ongoing Bus Programs</vt:lpstr>
      <vt:lpstr>PowerPoint Presentation</vt:lpstr>
      <vt:lpstr>PowerPoint Presentation</vt:lpstr>
      <vt:lpstr>Facility Program Development Plan</vt:lpstr>
      <vt:lpstr>Next Steps</vt:lpstr>
      <vt:lpstr>Back up</vt:lpstr>
      <vt:lpstr>Path Forward</vt:lpstr>
      <vt:lpstr>PowerPoint Presentation</vt:lpstr>
      <vt:lpstr>Bus Facility Summary Statistic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YTD Capital spending has been lower than expected due to delays in GLX and Other projects</dc:title>
  <dc:creator>srashin</dc:creator>
  <cp:lastModifiedBy>Stoothoff, Erik</cp:lastModifiedBy>
  <cp:revision>320</cp:revision>
  <cp:lastPrinted>2018-09-21T17:31:34Z</cp:lastPrinted>
  <dcterms:created xsi:type="dcterms:W3CDTF">2016-05-17T19:48:13Z</dcterms:created>
  <dcterms:modified xsi:type="dcterms:W3CDTF">2018-09-21T18:29:07Z</dcterms:modified>
</cp:coreProperties>
</file>